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7" r:id="rId5"/>
  </p:sldMasterIdLst>
  <p:notesMasterIdLst>
    <p:notesMasterId r:id="rId19"/>
  </p:notesMasterIdLst>
  <p:handoutMasterIdLst>
    <p:handoutMasterId r:id="rId20"/>
  </p:handoutMasterIdLst>
  <p:sldIdLst>
    <p:sldId id="256" r:id="rId6"/>
    <p:sldId id="3849" r:id="rId7"/>
    <p:sldId id="3852" r:id="rId8"/>
    <p:sldId id="261" r:id="rId9"/>
    <p:sldId id="3853" r:id="rId10"/>
    <p:sldId id="3850" r:id="rId11"/>
    <p:sldId id="263" r:id="rId12"/>
    <p:sldId id="3851" r:id="rId13"/>
    <p:sldId id="1115" r:id="rId14"/>
    <p:sldId id="265" r:id="rId15"/>
    <p:sldId id="268" r:id="rId16"/>
    <p:sldId id="3848" r:id="rId17"/>
    <p:sldId id="3847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94" autoAdjust="0"/>
  </p:normalViewPr>
  <p:slideViewPr>
    <p:cSldViewPr snapToGrid="0">
      <p:cViewPr varScale="1">
        <p:scale>
          <a:sx n="98" d="100"/>
          <a:sy n="98" d="100"/>
        </p:scale>
        <p:origin x="108" y="234"/>
      </p:cViewPr>
      <p:guideLst/>
    </p:cSldViewPr>
  </p:slideViewPr>
  <p:outlineViewPr>
    <p:cViewPr>
      <p:scale>
        <a:sx n="33" d="100"/>
        <a:sy n="33" d="100"/>
      </p:scale>
      <p:origin x="0" y="-37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7"/>
    </p:cViewPr>
  </p:sorter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sario Ortega" userId="aee6e3db-e83d-44e3-8b28-b9cc4cc431d4" providerId="ADAL" clId="{9F862CFA-9259-45CF-AF4C-A56663114EDF}"/>
    <pc:docChg chg="undo redo custSel modSld">
      <pc:chgData name="Rosario Ortega" userId="aee6e3db-e83d-44e3-8b28-b9cc4cc431d4" providerId="ADAL" clId="{9F862CFA-9259-45CF-AF4C-A56663114EDF}" dt="2026-01-26T19:47:27.190" v="10" actId="478"/>
      <pc:docMkLst>
        <pc:docMk/>
      </pc:docMkLst>
      <pc:sldChg chg="modSp mod">
        <pc:chgData name="Rosario Ortega" userId="aee6e3db-e83d-44e3-8b28-b9cc4cc431d4" providerId="ADAL" clId="{9F862CFA-9259-45CF-AF4C-A56663114EDF}" dt="2026-01-26T19:47:08.088" v="9" actId="962"/>
        <pc:sldMkLst>
          <pc:docMk/>
          <pc:sldMk cId="2737241225" sldId="263"/>
        </pc:sldMkLst>
        <pc:picChg chg="mod">
          <ac:chgData name="Rosario Ortega" userId="aee6e3db-e83d-44e3-8b28-b9cc4cc431d4" providerId="ADAL" clId="{9F862CFA-9259-45CF-AF4C-A56663114EDF}" dt="2026-01-26T19:47:08.088" v="9" actId="962"/>
          <ac:picMkLst>
            <pc:docMk/>
            <pc:sldMk cId="2737241225" sldId="263"/>
            <ac:picMk id="7" creationId="{801F49D2-BB65-F239-98D5-2AE9FF0D4CBF}"/>
          </ac:picMkLst>
        </pc:picChg>
      </pc:sldChg>
      <pc:sldChg chg="modSp mod">
        <pc:chgData name="Rosario Ortega" userId="aee6e3db-e83d-44e3-8b28-b9cc4cc431d4" providerId="ADAL" clId="{9F862CFA-9259-45CF-AF4C-A56663114EDF}" dt="2026-01-26T19:47:08.088" v="9" actId="962"/>
        <pc:sldMkLst>
          <pc:docMk/>
          <pc:sldMk cId="4259977132" sldId="268"/>
        </pc:sldMkLst>
        <pc:picChg chg="mod">
          <ac:chgData name="Rosario Ortega" userId="aee6e3db-e83d-44e3-8b28-b9cc4cc431d4" providerId="ADAL" clId="{9F862CFA-9259-45CF-AF4C-A56663114EDF}" dt="2026-01-26T19:47:08.088" v="9" actId="962"/>
          <ac:picMkLst>
            <pc:docMk/>
            <pc:sldMk cId="4259977132" sldId="268"/>
            <ac:picMk id="14" creationId="{67AB1197-6124-8523-9FB4-DE96DD55CCC0}"/>
          </ac:picMkLst>
        </pc:picChg>
      </pc:sldChg>
      <pc:sldChg chg="delSp mod">
        <pc:chgData name="Rosario Ortega" userId="aee6e3db-e83d-44e3-8b28-b9cc4cc431d4" providerId="ADAL" clId="{9F862CFA-9259-45CF-AF4C-A56663114EDF}" dt="2026-01-26T19:47:27.190" v="10" actId="478"/>
        <pc:sldMkLst>
          <pc:docMk/>
          <pc:sldMk cId="1562484837" sldId="3847"/>
        </pc:sldMkLst>
        <pc:spChg chg="del">
          <ac:chgData name="Rosario Ortega" userId="aee6e3db-e83d-44e3-8b28-b9cc4cc431d4" providerId="ADAL" clId="{9F862CFA-9259-45CF-AF4C-A56663114EDF}" dt="2026-01-26T19:47:27.190" v="10" actId="478"/>
          <ac:spMkLst>
            <pc:docMk/>
            <pc:sldMk cId="1562484837" sldId="3847"/>
            <ac:spMk id="3" creationId="{1BE98EFF-197D-3136-70B9-7BBD30A48931}"/>
          </ac:spMkLst>
        </pc:spChg>
      </pc:sldChg>
      <pc:sldChg chg="modSp mod">
        <pc:chgData name="Rosario Ortega" userId="aee6e3db-e83d-44e3-8b28-b9cc4cc431d4" providerId="ADAL" clId="{9F862CFA-9259-45CF-AF4C-A56663114EDF}" dt="2026-01-26T19:47:08.088" v="9" actId="962"/>
        <pc:sldMkLst>
          <pc:docMk/>
          <pc:sldMk cId="414613742" sldId="3848"/>
        </pc:sldMkLst>
        <pc:picChg chg="mod">
          <ac:chgData name="Rosario Ortega" userId="aee6e3db-e83d-44e3-8b28-b9cc4cc431d4" providerId="ADAL" clId="{9F862CFA-9259-45CF-AF4C-A56663114EDF}" dt="2026-01-26T19:47:08.088" v="9" actId="962"/>
          <ac:picMkLst>
            <pc:docMk/>
            <pc:sldMk cId="414613742" sldId="3848"/>
            <ac:picMk id="12" creationId="{14F91C26-F2D7-9561-6823-58E615B90B37}"/>
          </ac:picMkLst>
        </pc:picChg>
      </pc:sldChg>
      <pc:sldChg chg="modSp mod">
        <pc:chgData name="Rosario Ortega" userId="aee6e3db-e83d-44e3-8b28-b9cc4cc431d4" providerId="ADAL" clId="{9F862CFA-9259-45CF-AF4C-A56663114EDF}" dt="2026-01-26T19:47:08.088" v="9" actId="962"/>
        <pc:sldMkLst>
          <pc:docMk/>
          <pc:sldMk cId="1127649784" sldId="3851"/>
        </pc:sldMkLst>
        <pc:picChg chg="mod">
          <ac:chgData name="Rosario Ortega" userId="aee6e3db-e83d-44e3-8b28-b9cc4cc431d4" providerId="ADAL" clId="{9F862CFA-9259-45CF-AF4C-A56663114EDF}" dt="2026-01-26T19:47:08.088" v="9" actId="962"/>
          <ac:picMkLst>
            <pc:docMk/>
            <pc:sldMk cId="1127649784" sldId="3851"/>
            <ac:picMk id="10" creationId="{037E5028-6AFA-68AD-7BA3-4DABE44D6455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1/26/202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20CE03-6C3A-EB4D-A9B1-7EFD38B58412}" type="datetimeFigureOut">
              <a:rPr lang="en-US" smtClean="0"/>
              <a:t>1/26/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57D50D-BAA9-464B-B391-243138E078D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924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57D50D-BAA9-464B-B391-243138E078D8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2297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57D50D-BAA9-464B-B391-243138E078D8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098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57D50D-BAA9-464B-B391-243138E078D8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0916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57D50D-BAA9-464B-B391-243138E078D8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6818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57D50D-BAA9-464B-B391-243138E078D8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229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57D50D-BAA9-464B-B391-243138E078D8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919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823F76-648E-0310-BE9D-2A2C3B710A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519308-7B31-FA57-5D48-6D83498F90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5F6564-0955-961C-3C3D-D995377333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6C7E9A-0017-4F6F-DFA3-9661B4CB44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57D50D-BAA9-464B-B391-243138E078D8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83557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57D50D-BAA9-464B-B391-243138E078D8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402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CE639E-5E24-EB49-1C12-A7434FFD3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0EDD1D-AE4E-4914-256C-45D024E409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55A943-A091-E7D0-3FD2-75C2B4FA54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40480B-0915-D249-B723-822F74AFBA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57D50D-BAA9-464B-B391-243138E078D8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7717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57D50D-BAA9-464B-B391-243138E078D8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5383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57D50D-BAA9-464B-B391-243138E078D8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00281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57D50D-BAA9-464B-B391-243138E078D8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9492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 the points on the slide and how they related back to what we just talked about. </a:t>
            </a:r>
          </a:p>
          <a:p>
            <a:endParaRPr lang="en-US" dirty="0"/>
          </a:p>
          <a:p>
            <a:r>
              <a:rPr lang="en-US" dirty="0"/>
              <a:t>Spend a minute on the concept of “listening to understand rather than respond”. This is key to being a better sales person. You don’t prescribe a solution w/o understanding what it is that your customer wants/need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B62A78-1BF9-984B-BEDF-9AB4ECD8DC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75368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9429764-E305-A48D-5244-9BCD209022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8286859"/>
            <a:chOff x="0" y="1"/>
            <a:chExt cx="12192000" cy="8286859"/>
          </a:xfrm>
        </p:grpSpPr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45F65CE3-2411-E8E5-B72E-F5CBEC4DDC55}"/>
                </a:ext>
              </a:extLst>
            </p:cNvPr>
            <p:cNvSpPr/>
            <p:nvPr userDrawn="1"/>
          </p:nvSpPr>
          <p:spPr>
            <a:xfrm>
              <a:off x="4000500" y="1087403"/>
              <a:ext cx="8191500" cy="5770597"/>
            </a:xfrm>
            <a:custGeom>
              <a:avLst/>
              <a:gdLst>
                <a:gd name="connsiteX0" fmla="*/ 4929467 w 8191500"/>
                <a:gd name="connsiteY0" fmla="*/ 0 h 5770597"/>
                <a:gd name="connsiteX1" fmla="*/ 8065066 w 8191500"/>
                <a:gd name="connsiteY1" fmla="*/ 1118513 h 5770597"/>
                <a:gd name="connsiteX2" fmla="*/ 8191500 w 8191500"/>
                <a:gd name="connsiteY2" fmla="*/ 1227339 h 5770597"/>
                <a:gd name="connsiteX3" fmla="*/ 8191500 w 8191500"/>
                <a:gd name="connsiteY3" fmla="*/ 5770597 h 5770597"/>
                <a:gd name="connsiteX4" fmla="*/ 79523 w 8191500"/>
                <a:gd name="connsiteY4" fmla="*/ 5770597 h 5770597"/>
                <a:gd name="connsiteX5" fmla="*/ 56799 w 8191500"/>
                <a:gd name="connsiteY5" fmla="*/ 5644158 h 5770597"/>
                <a:gd name="connsiteX6" fmla="*/ 0 w 8191500"/>
                <a:gd name="connsiteY6" fmla="*/ 4898209 h 5770597"/>
                <a:gd name="connsiteX7" fmla="*/ 4929467 w 8191500"/>
                <a:gd name="connsiteY7" fmla="*/ 0 h 5770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91500" h="5770597">
                  <a:moveTo>
                    <a:pt x="4929467" y="0"/>
                  </a:moveTo>
                  <a:cubicBezTo>
                    <a:pt x="6120547" y="0"/>
                    <a:pt x="7212963" y="419755"/>
                    <a:pt x="8065066" y="1118513"/>
                  </a:cubicBezTo>
                  <a:lnTo>
                    <a:pt x="8191500" y="1227339"/>
                  </a:lnTo>
                  <a:lnTo>
                    <a:pt x="8191500" y="5770597"/>
                  </a:lnTo>
                  <a:lnTo>
                    <a:pt x="79523" y="5770597"/>
                  </a:lnTo>
                  <a:lnTo>
                    <a:pt x="56799" y="5644158"/>
                  </a:lnTo>
                  <a:cubicBezTo>
                    <a:pt x="19398" y="5400934"/>
                    <a:pt x="0" y="5151822"/>
                    <a:pt x="0" y="4898209"/>
                  </a:cubicBezTo>
                  <a:cubicBezTo>
                    <a:pt x="0" y="2193003"/>
                    <a:pt x="2206998" y="0"/>
                    <a:pt x="492946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B6B51B3-AA6C-9C5E-7032-5AEA05D459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6241" y="183933"/>
              <a:ext cx="0" cy="1597708"/>
            </a:xfrm>
            <a:prstGeom prst="line">
              <a:avLst/>
            </a:prstGeom>
            <a:ln w="127000" cap="rnd">
              <a:solidFill>
                <a:schemeClr val="accent4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Freeform: Shape 13">
              <a:extLst>
                <a:ext uri="{FF2B5EF4-FFF2-40B4-BE49-F238E27FC236}">
                  <a16:creationId xmlns:a16="http://schemas.microsoft.com/office/drawing/2014/main" id="{4F28561D-5B3C-F08A-F7B5-48E6B74EAEBD}"/>
                </a:ext>
              </a:extLst>
            </p:cNvPr>
            <p:cNvSpPr/>
            <p:nvPr userDrawn="1"/>
          </p:nvSpPr>
          <p:spPr>
            <a:xfrm>
              <a:off x="5292348" y="1"/>
              <a:ext cx="2279742" cy="1267785"/>
            </a:xfrm>
            <a:custGeom>
              <a:avLst/>
              <a:gdLst>
                <a:gd name="connsiteX0" fmla="*/ 0 w 2279742"/>
                <a:gd name="connsiteY0" fmla="*/ 0 h 1267785"/>
                <a:gd name="connsiteX1" fmla="*/ 138700 w 2279742"/>
                <a:gd name="connsiteY1" fmla="*/ 0 h 1267785"/>
                <a:gd name="connsiteX2" fmla="*/ 138700 w 2279742"/>
                <a:gd name="connsiteY2" fmla="*/ 1078193 h 1267785"/>
                <a:gd name="connsiteX3" fmla="*/ 2002733 w 2279742"/>
                <a:gd name="connsiteY3" fmla="*/ 0 h 1267785"/>
                <a:gd name="connsiteX4" fmla="*/ 2279742 w 2279742"/>
                <a:gd name="connsiteY4" fmla="*/ 0 h 1267785"/>
                <a:gd name="connsiteX5" fmla="*/ 104026 w 2279742"/>
                <a:gd name="connsiteY5" fmla="*/ 1258503 h 1267785"/>
                <a:gd name="connsiteX6" fmla="*/ 69351 w 2279742"/>
                <a:gd name="connsiteY6" fmla="*/ 1267785 h 1267785"/>
                <a:gd name="connsiteX7" fmla="*/ 0 w 2279742"/>
                <a:gd name="connsiteY7" fmla="*/ 1198436 h 1267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79742" h="1267785">
                  <a:moveTo>
                    <a:pt x="0" y="0"/>
                  </a:moveTo>
                  <a:lnTo>
                    <a:pt x="138700" y="0"/>
                  </a:lnTo>
                  <a:lnTo>
                    <a:pt x="138700" y="1078193"/>
                  </a:lnTo>
                  <a:lnTo>
                    <a:pt x="2002733" y="0"/>
                  </a:lnTo>
                  <a:lnTo>
                    <a:pt x="2279742" y="0"/>
                  </a:lnTo>
                  <a:lnTo>
                    <a:pt x="104026" y="1258503"/>
                  </a:lnTo>
                  <a:cubicBezTo>
                    <a:pt x="93484" y="1264595"/>
                    <a:pt x="81523" y="1267796"/>
                    <a:pt x="69351" y="1267785"/>
                  </a:cubicBezTo>
                  <a:cubicBezTo>
                    <a:pt x="31049" y="1267785"/>
                    <a:pt x="0" y="1236737"/>
                    <a:pt x="0" y="1198436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: Shape 15">
              <a:extLst>
                <a:ext uri="{FF2B5EF4-FFF2-40B4-BE49-F238E27FC236}">
                  <a16:creationId xmlns:a16="http://schemas.microsoft.com/office/drawing/2014/main" id="{7BD7FF70-44B7-E753-26CD-E228B56C2517}"/>
                </a:ext>
              </a:extLst>
            </p:cNvPr>
            <p:cNvSpPr/>
            <p:nvPr userDrawn="1"/>
          </p:nvSpPr>
          <p:spPr>
            <a:xfrm>
              <a:off x="10208695" y="1"/>
              <a:ext cx="1135066" cy="477997"/>
            </a:xfrm>
            <a:custGeom>
              <a:avLst/>
              <a:gdLst>
                <a:gd name="connsiteX0" fmla="*/ 0 w 1135066"/>
                <a:gd name="connsiteY0" fmla="*/ 0 h 477997"/>
                <a:gd name="connsiteX1" fmla="*/ 1135066 w 1135066"/>
                <a:gd name="connsiteY1" fmla="*/ 0 h 477997"/>
                <a:gd name="connsiteX2" fmla="*/ 1133370 w 1135066"/>
                <a:gd name="connsiteY2" fmla="*/ 16827 h 477997"/>
                <a:gd name="connsiteX3" fmla="*/ 567533 w 1135066"/>
                <a:gd name="connsiteY3" fmla="*/ 477997 h 477997"/>
                <a:gd name="connsiteX4" fmla="*/ 1696 w 1135066"/>
                <a:gd name="connsiteY4" fmla="*/ 16827 h 47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5066" h="477997">
                  <a:moveTo>
                    <a:pt x="0" y="0"/>
                  </a:moveTo>
                  <a:lnTo>
                    <a:pt x="1135066" y="0"/>
                  </a:lnTo>
                  <a:lnTo>
                    <a:pt x="1133370" y="16827"/>
                  </a:lnTo>
                  <a:cubicBezTo>
                    <a:pt x="1079514" y="280016"/>
                    <a:pt x="846644" y="477997"/>
                    <a:pt x="567533" y="477997"/>
                  </a:cubicBezTo>
                  <a:cubicBezTo>
                    <a:pt x="288422" y="477997"/>
                    <a:pt x="55552" y="280016"/>
                    <a:pt x="1696" y="1682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F9EE857-93B9-ACF6-2AB4-2A29C4B94776}"/>
                </a:ext>
              </a:extLst>
            </p:cNvPr>
            <p:cNvSpPr/>
            <p:nvPr userDrawn="1"/>
          </p:nvSpPr>
          <p:spPr>
            <a:xfrm>
              <a:off x="1569044" y="514898"/>
              <a:ext cx="2393351" cy="232842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: Shape 19">
              <a:extLst>
                <a:ext uri="{FF2B5EF4-FFF2-40B4-BE49-F238E27FC236}">
                  <a16:creationId xmlns:a16="http://schemas.microsoft.com/office/drawing/2014/main" id="{75030D84-5EEB-A095-3D43-0ED22BDB8406}"/>
                </a:ext>
              </a:extLst>
            </p:cNvPr>
            <p:cNvSpPr/>
            <p:nvPr userDrawn="1"/>
          </p:nvSpPr>
          <p:spPr>
            <a:xfrm flipH="1">
              <a:off x="0" y="2949740"/>
              <a:ext cx="1186451" cy="1771650"/>
            </a:xfrm>
            <a:custGeom>
              <a:avLst/>
              <a:gdLst>
                <a:gd name="connsiteX0" fmla="*/ 61913 w 1186451"/>
                <a:gd name="connsiteY0" fmla="*/ 0 h 1771650"/>
                <a:gd name="connsiteX1" fmla="*/ 1186451 w 1186451"/>
                <a:gd name="connsiteY1" fmla="*/ 0 h 1771650"/>
                <a:gd name="connsiteX2" fmla="*/ 1186451 w 1186451"/>
                <a:gd name="connsiteY2" fmla="*/ 123825 h 1771650"/>
                <a:gd name="connsiteX3" fmla="*/ 123825 w 1186451"/>
                <a:gd name="connsiteY3" fmla="*/ 123825 h 1771650"/>
                <a:gd name="connsiteX4" fmla="*/ 123825 w 1186451"/>
                <a:gd name="connsiteY4" fmla="*/ 1647825 h 1771650"/>
                <a:gd name="connsiteX5" fmla="*/ 1186451 w 1186451"/>
                <a:gd name="connsiteY5" fmla="*/ 1647825 h 1771650"/>
                <a:gd name="connsiteX6" fmla="*/ 1186451 w 1186451"/>
                <a:gd name="connsiteY6" fmla="*/ 1771650 h 1771650"/>
                <a:gd name="connsiteX7" fmla="*/ 61913 w 1186451"/>
                <a:gd name="connsiteY7" fmla="*/ 1771650 h 1771650"/>
                <a:gd name="connsiteX8" fmla="*/ 0 w 1186451"/>
                <a:gd name="connsiteY8" fmla="*/ 1709738 h 1771650"/>
                <a:gd name="connsiteX9" fmla="*/ 0 w 1186451"/>
                <a:gd name="connsiteY9" fmla="*/ 61913 h 1771650"/>
                <a:gd name="connsiteX10" fmla="*/ 61913 w 1186451"/>
                <a:gd name="connsiteY10" fmla="*/ 0 h 177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6451" h="1771650">
                  <a:moveTo>
                    <a:pt x="61913" y="0"/>
                  </a:moveTo>
                  <a:lnTo>
                    <a:pt x="1186451" y="0"/>
                  </a:lnTo>
                  <a:lnTo>
                    <a:pt x="1186451" y="123825"/>
                  </a:lnTo>
                  <a:lnTo>
                    <a:pt x="123825" y="123825"/>
                  </a:lnTo>
                  <a:lnTo>
                    <a:pt x="123825" y="1647825"/>
                  </a:lnTo>
                  <a:lnTo>
                    <a:pt x="1186451" y="1647825"/>
                  </a:lnTo>
                  <a:lnTo>
                    <a:pt x="1186451" y="1771650"/>
                  </a:lnTo>
                  <a:lnTo>
                    <a:pt x="61913" y="1771650"/>
                  </a:lnTo>
                  <a:cubicBezTo>
                    <a:pt x="27719" y="1771650"/>
                    <a:pt x="0" y="1743932"/>
                    <a:pt x="0" y="1709738"/>
                  </a:cubicBezTo>
                  <a:lnTo>
                    <a:pt x="0" y="61913"/>
                  </a:lnTo>
                  <a:cubicBezTo>
                    <a:pt x="0" y="27719"/>
                    <a:pt x="27719" y="0"/>
                    <a:pt x="61913" y="0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Arc 12">
              <a:extLst>
                <a:ext uri="{FF2B5EF4-FFF2-40B4-BE49-F238E27FC236}">
                  <a16:creationId xmlns:a16="http://schemas.microsoft.com/office/drawing/2014/main" id="{26E6DE3E-6851-19AD-2E60-22F006238173}"/>
                </a:ext>
              </a:extLst>
            </p:cNvPr>
            <p:cNvSpPr/>
            <p:nvPr userDrawn="1"/>
          </p:nvSpPr>
          <p:spPr>
            <a:xfrm rot="16200000">
              <a:off x="1539683" y="4203427"/>
              <a:ext cx="4083433" cy="4083433"/>
            </a:xfrm>
            <a:prstGeom prst="arc">
              <a:avLst/>
            </a:prstGeom>
            <a:ln w="127000" cap="rnd">
              <a:solidFill>
                <a:schemeClr val="accent4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84474" y="2949739"/>
            <a:ext cx="6261291" cy="2396686"/>
          </a:xfrm>
        </p:spPr>
        <p:txBody>
          <a:bodyPr anchor="b" anchorCtr="0">
            <a:noAutofit/>
          </a:bodyPr>
          <a:lstStyle>
            <a:lvl1pPr algn="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9FE4C84-13A1-72EA-6541-7C8FDDEA71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61563" y="5800859"/>
            <a:ext cx="692016" cy="692016"/>
          </a:xfrm>
          <a:prstGeom prst="rect">
            <a:avLst/>
          </a:prstGeom>
          <a:noFill/>
          <a:ln w="127000">
            <a:solidFill>
              <a:schemeClr val="accent6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30468883-4E51-D3BD-E1C6-601ED9B6E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21438747" flipV="1">
            <a:off x="7967025" y="2530995"/>
            <a:ext cx="4021193" cy="4021193"/>
          </a:xfrm>
          <a:prstGeom prst="arc">
            <a:avLst>
              <a:gd name="adj1" fmla="val 16200000"/>
              <a:gd name="adj2" fmla="val 20093138"/>
            </a:avLst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111AEF3F-9A86-45CE-4817-E3E6863DC0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11764789" y="390570"/>
            <a:ext cx="437721" cy="797078"/>
          </a:xfrm>
          <a:custGeom>
            <a:avLst/>
            <a:gdLst>
              <a:gd name="connsiteX0" fmla="*/ 28069 w 437721"/>
              <a:gd name="connsiteY0" fmla="*/ 0 h 797078"/>
              <a:gd name="connsiteX1" fmla="*/ 437721 w 437721"/>
              <a:gd name="connsiteY1" fmla="*/ 398539 h 797078"/>
              <a:gd name="connsiteX2" fmla="*/ 28069 w 437721"/>
              <a:gd name="connsiteY2" fmla="*/ 797078 h 797078"/>
              <a:gd name="connsiteX3" fmla="*/ 0 w 437721"/>
              <a:gd name="connsiteY3" fmla="*/ 794325 h 797078"/>
              <a:gd name="connsiteX4" fmla="*/ 0 w 437721"/>
              <a:gd name="connsiteY4" fmla="*/ 2753 h 797078"/>
              <a:gd name="connsiteX5" fmla="*/ 28069 w 437721"/>
              <a:gd name="connsiteY5" fmla="*/ 0 h 797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7721" h="797078">
                <a:moveTo>
                  <a:pt x="28069" y="0"/>
                </a:moveTo>
                <a:cubicBezTo>
                  <a:pt x="254314" y="0"/>
                  <a:pt x="437721" y="178432"/>
                  <a:pt x="437721" y="398539"/>
                </a:cubicBezTo>
                <a:cubicBezTo>
                  <a:pt x="437721" y="618646"/>
                  <a:pt x="254314" y="797078"/>
                  <a:pt x="28069" y="797078"/>
                </a:cubicBezTo>
                <a:lnTo>
                  <a:pt x="0" y="794325"/>
                </a:lnTo>
                <a:lnTo>
                  <a:pt x="0" y="2753"/>
                </a:lnTo>
                <a:lnTo>
                  <a:pt x="28069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5A792C8-BB21-CDAF-668C-C1EFF45540C6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38200" y="1825625"/>
            <a:ext cx="6934200" cy="4297680"/>
          </a:xfrm>
          <a:noFill/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spcBef>
                <a:spcPts val="1000"/>
              </a:spcBef>
              <a:spcAft>
                <a:spcPts val="800"/>
              </a:spcAft>
              <a:buNone/>
              <a:defRPr sz="1800"/>
            </a:lvl1pPr>
            <a:lvl2pPr>
              <a:spcBef>
                <a:spcPts val="500"/>
              </a:spcBef>
              <a:spcAft>
                <a:spcPts val="800"/>
              </a:spcAft>
              <a:buClr>
                <a:schemeClr val="accent2"/>
              </a:buClr>
              <a:defRPr sz="1800"/>
            </a:lvl2pPr>
            <a:lvl3pPr>
              <a:spcBef>
                <a:spcPts val="1000"/>
              </a:spcBef>
              <a:buClr>
                <a:schemeClr val="accent2"/>
              </a:buClr>
              <a:defRPr sz="1800"/>
            </a:lvl3pPr>
            <a:lvl4pPr>
              <a:spcBef>
                <a:spcPts val="1000"/>
              </a:spcBef>
              <a:buClr>
                <a:schemeClr val="accent2"/>
              </a:buClr>
              <a:defRPr sz="1800"/>
            </a:lvl4pPr>
            <a:lvl5pPr>
              <a:spcBef>
                <a:spcPts val="1000"/>
              </a:spcBef>
              <a:buClr>
                <a:schemeClr val="accent2"/>
              </a:buClr>
              <a:defRPr sz="18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sz="1800" dirty="0">
              <a:latin typeface="Avenir Next LT Pro" panose="020B0504020202020204" pitchFamily="34" charset="77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DFB03A-367B-9ADA-8071-E22871EC115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903029" y="1825625"/>
            <a:ext cx="3450771" cy="4297680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800"/>
              </a:spcAft>
              <a:buNone/>
              <a:defRPr sz="1800"/>
            </a:lvl1pPr>
            <a:lvl2pPr marL="742950" indent="-2857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/>
            </a:lvl2pPr>
            <a:lvl3pPr marL="1200150" indent="-2857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3pPr>
            <a:lvl4pPr marL="1543050" indent="-1714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200"/>
            </a:lvl4pPr>
            <a:lvl5pPr marL="2000250" indent="-1714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/26/20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/26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838199" y="1825625"/>
            <a:ext cx="10515600" cy="4297680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D7B7232D-F1A6-B6C3-3BBF-E834CC7CDC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5930138" cy="6858001"/>
            <a:chOff x="0" y="-1"/>
            <a:chExt cx="5930138" cy="6858001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D306340-6BFD-FE3D-535B-B59C1C44EDDA}"/>
                </a:ext>
              </a:extLst>
            </p:cNvPr>
            <p:cNvSpPr/>
            <p:nvPr userDrawn="1"/>
          </p:nvSpPr>
          <p:spPr>
            <a:xfrm>
              <a:off x="383877" y="778462"/>
              <a:ext cx="5315035" cy="531503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: Shape 11">
              <a:extLst>
                <a:ext uri="{FF2B5EF4-FFF2-40B4-BE49-F238E27FC236}">
                  <a16:creationId xmlns:a16="http://schemas.microsoft.com/office/drawing/2014/main" id="{338E6C4B-ABF3-8B7E-8DCF-A93F69C712B1}"/>
                </a:ext>
              </a:extLst>
            </p:cNvPr>
            <p:cNvSpPr/>
            <p:nvPr userDrawn="1"/>
          </p:nvSpPr>
          <p:spPr>
            <a:xfrm flipH="1">
              <a:off x="530529" y="0"/>
              <a:ext cx="1155142" cy="591009"/>
            </a:xfrm>
            <a:custGeom>
              <a:avLst/>
              <a:gdLst>
                <a:gd name="connsiteX0" fmla="*/ 1355 w 1155142"/>
                <a:gd name="connsiteY0" fmla="*/ 0 h 591009"/>
                <a:gd name="connsiteX1" fmla="*/ 1153787 w 1155142"/>
                <a:gd name="connsiteY1" fmla="*/ 0 h 591009"/>
                <a:gd name="connsiteX2" fmla="*/ 1155142 w 1155142"/>
                <a:gd name="connsiteY2" fmla="*/ 13438 h 591009"/>
                <a:gd name="connsiteX3" fmla="*/ 577571 w 1155142"/>
                <a:gd name="connsiteY3" fmla="*/ 591009 h 591009"/>
                <a:gd name="connsiteX4" fmla="*/ 0 w 1155142"/>
                <a:gd name="connsiteY4" fmla="*/ 13438 h 591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5142" h="591009">
                  <a:moveTo>
                    <a:pt x="1355" y="0"/>
                  </a:moveTo>
                  <a:lnTo>
                    <a:pt x="1153787" y="0"/>
                  </a:lnTo>
                  <a:lnTo>
                    <a:pt x="1155142" y="13438"/>
                  </a:lnTo>
                  <a:cubicBezTo>
                    <a:pt x="1155142" y="332422"/>
                    <a:pt x="896555" y="591009"/>
                    <a:pt x="577571" y="591009"/>
                  </a:cubicBezTo>
                  <a:cubicBezTo>
                    <a:pt x="258587" y="591009"/>
                    <a:pt x="0" y="332422"/>
                    <a:pt x="0" y="1343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: Shape 13">
              <a:extLst>
                <a:ext uri="{FF2B5EF4-FFF2-40B4-BE49-F238E27FC236}">
                  <a16:creationId xmlns:a16="http://schemas.microsoft.com/office/drawing/2014/main" id="{6F90F99F-B12A-E8F9-5A86-D76B201D6308}"/>
                </a:ext>
              </a:extLst>
            </p:cNvPr>
            <p:cNvSpPr/>
            <p:nvPr userDrawn="1"/>
          </p:nvSpPr>
          <p:spPr>
            <a:xfrm flipH="1">
              <a:off x="3961511" y="-1"/>
              <a:ext cx="1737401" cy="959536"/>
            </a:xfrm>
            <a:custGeom>
              <a:avLst/>
              <a:gdLst>
                <a:gd name="connsiteX0" fmla="*/ 0 w 1737401"/>
                <a:gd name="connsiteY0" fmla="*/ 0 h 959536"/>
                <a:gd name="connsiteX1" fmla="*/ 123825 w 1737401"/>
                <a:gd name="connsiteY1" fmla="*/ 0 h 959536"/>
                <a:gd name="connsiteX2" fmla="*/ 123825 w 1737401"/>
                <a:gd name="connsiteY2" fmla="*/ 790277 h 959536"/>
                <a:gd name="connsiteX3" fmla="*/ 1490095 w 1737401"/>
                <a:gd name="connsiteY3" fmla="*/ 0 h 959536"/>
                <a:gd name="connsiteX4" fmla="*/ 1737401 w 1737401"/>
                <a:gd name="connsiteY4" fmla="*/ 0 h 959536"/>
                <a:gd name="connsiteX5" fmla="*/ 92869 w 1737401"/>
                <a:gd name="connsiteY5" fmla="*/ 951249 h 959536"/>
                <a:gd name="connsiteX6" fmla="*/ 61913 w 1737401"/>
                <a:gd name="connsiteY6" fmla="*/ 959536 h 959536"/>
                <a:gd name="connsiteX7" fmla="*/ 0 w 1737401"/>
                <a:gd name="connsiteY7" fmla="*/ 897624 h 959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7401" h="959536">
                  <a:moveTo>
                    <a:pt x="0" y="0"/>
                  </a:moveTo>
                  <a:lnTo>
                    <a:pt x="123825" y="0"/>
                  </a:lnTo>
                  <a:lnTo>
                    <a:pt x="123825" y="790277"/>
                  </a:lnTo>
                  <a:lnTo>
                    <a:pt x="1490095" y="0"/>
                  </a:lnTo>
                  <a:lnTo>
                    <a:pt x="1737401" y="0"/>
                  </a:lnTo>
                  <a:lnTo>
                    <a:pt x="92869" y="951249"/>
                  </a:lnTo>
                  <a:cubicBezTo>
                    <a:pt x="83458" y="956688"/>
                    <a:pt x="72780" y="959546"/>
                    <a:pt x="61913" y="959536"/>
                  </a:cubicBezTo>
                  <a:cubicBezTo>
                    <a:pt x="27719" y="959536"/>
                    <a:pt x="0" y="931818"/>
                    <a:pt x="0" y="897624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: Shape 15">
              <a:extLst>
                <a:ext uri="{FF2B5EF4-FFF2-40B4-BE49-F238E27FC236}">
                  <a16:creationId xmlns:a16="http://schemas.microsoft.com/office/drawing/2014/main" id="{BFA99EFE-81BC-95EA-FA61-B7199AD98A74}"/>
                </a:ext>
              </a:extLst>
            </p:cNvPr>
            <p:cNvSpPr/>
            <p:nvPr userDrawn="1"/>
          </p:nvSpPr>
          <p:spPr>
            <a:xfrm flipH="1">
              <a:off x="0" y="2936831"/>
              <a:ext cx="159741" cy="552996"/>
            </a:xfrm>
            <a:custGeom>
              <a:avLst/>
              <a:gdLst>
                <a:gd name="connsiteX0" fmla="*/ 159741 w 159741"/>
                <a:gd name="connsiteY0" fmla="*/ 0 h 552996"/>
                <a:gd name="connsiteX1" fmla="*/ 159741 w 159741"/>
                <a:gd name="connsiteY1" fmla="*/ 552996 h 552996"/>
                <a:gd name="connsiteX2" fmla="*/ 141849 w 159741"/>
                <a:gd name="connsiteY2" fmla="*/ 543285 h 552996"/>
                <a:gd name="connsiteX3" fmla="*/ 0 w 159741"/>
                <a:gd name="connsiteY3" fmla="*/ 276498 h 552996"/>
                <a:gd name="connsiteX4" fmla="*/ 141849 w 159741"/>
                <a:gd name="connsiteY4" fmla="*/ 9711 h 552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741" h="552996">
                  <a:moveTo>
                    <a:pt x="159741" y="0"/>
                  </a:moveTo>
                  <a:lnTo>
                    <a:pt x="159741" y="552996"/>
                  </a:lnTo>
                  <a:lnTo>
                    <a:pt x="141849" y="543285"/>
                  </a:lnTo>
                  <a:cubicBezTo>
                    <a:pt x="56268" y="485467"/>
                    <a:pt x="0" y="387554"/>
                    <a:pt x="0" y="276498"/>
                  </a:cubicBezTo>
                  <a:cubicBezTo>
                    <a:pt x="0" y="165443"/>
                    <a:pt x="56268" y="67529"/>
                    <a:pt x="141849" y="9711"/>
                  </a:cubicBezTo>
                  <a:close/>
                </a:path>
              </a:pathLst>
            </a:custGeom>
            <a:solidFill>
              <a:schemeClr val="accent4"/>
            </a:solidFill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: Shape 17">
              <a:extLst>
                <a:ext uri="{FF2B5EF4-FFF2-40B4-BE49-F238E27FC236}">
                  <a16:creationId xmlns:a16="http://schemas.microsoft.com/office/drawing/2014/main" id="{DD9FC028-D877-28FE-C646-DBD85D932641}"/>
                </a:ext>
              </a:extLst>
            </p:cNvPr>
            <p:cNvSpPr/>
            <p:nvPr userDrawn="1"/>
          </p:nvSpPr>
          <p:spPr>
            <a:xfrm flipH="1">
              <a:off x="0" y="5835649"/>
              <a:ext cx="1548180" cy="1022351"/>
            </a:xfrm>
            <a:custGeom>
              <a:avLst/>
              <a:gdLst>
                <a:gd name="connsiteX0" fmla="*/ 61913 w 1548180"/>
                <a:gd name="connsiteY0" fmla="*/ 0 h 1022351"/>
                <a:gd name="connsiteX1" fmla="*/ 1548180 w 1548180"/>
                <a:gd name="connsiteY1" fmla="*/ 0 h 1022351"/>
                <a:gd name="connsiteX2" fmla="*/ 1548180 w 1548180"/>
                <a:gd name="connsiteY2" fmla="*/ 123825 h 1022351"/>
                <a:gd name="connsiteX3" fmla="*/ 123825 w 1548180"/>
                <a:gd name="connsiteY3" fmla="*/ 123825 h 1022351"/>
                <a:gd name="connsiteX4" fmla="*/ 123825 w 1548180"/>
                <a:gd name="connsiteY4" fmla="*/ 1022351 h 1022351"/>
                <a:gd name="connsiteX5" fmla="*/ 0 w 1548180"/>
                <a:gd name="connsiteY5" fmla="*/ 1022351 h 1022351"/>
                <a:gd name="connsiteX6" fmla="*/ 0 w 1548180"/>
                <a:gd name="connsiteY6" fmla="*/ 61913 h 1022351"/>
                <a:gd name="connsiteX7" fmla="*/ 61913 w 1548180"/>
                <a:gd name="connsiteY7" fmla="*/ 0 h 1022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48180" h="1022351">
                  <a:moveTo>
                    <a:pt x="61913" y="0"/>
                  </a:moveTo>
                  <a:lnTo>
                    <a:pt x="1548180" y="0"/>
                  </a:lnTo>
                  <a:lnTo>
                    <a:pt x="1548180" y="123825"/>
                  </a:lnTo>
                  <a:lnTo>
                    <a:pt x="123825" y="123825"/>
                  </a:lnTo>
                  <a:lnTo>
                    <a:pt x="123825" y="1022351"/>
                  </a:lnTo>
                  <a:lnTo>
                    <a:pt x="0" y="1022351"/>
                  </a:lnTo>
                  <a:lnTo>
                    <a:pt x="0" y="61913"/>
                  </a:lnTo>
                  <a:cubicBezTo>
                    <a:pt x="0" y="27719"/>
                    <a:pt x="27719" y="0"/>
                    <a:pt x="61913" y="0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: Shape 21">
              <a:extLst>
                <a:ext uri="{FF2B5EF4-FFF2-40B4-BE49-F238E27FC236}">
                  <a16:creationId xmlns:a16="http://schemas.microsoft.com/office/drawing/2014/main" id="{AA0AFFE9-F0C2-BDA0-BF87-9977706AB6A8}"/>
                </a:ext>
              </a:extLst>
            </p:cNvPr>
            <p:cNvSpPr/>
            <p:nvPr userDrawn="1"/>
          </p:nvSpPr>
          <p:spPr>
            <a:xfrm flipH="1">
              <a:off x="4364198" y="6258755"/>
              <a:ext cx="1565940" cy="599245"/>
            </a:xfrm>
            <a:custGeom>
              <a:avLst/>
              <a:gdLst>
                <a:gd name="connsiteX0" fmla="*/ 782970 w 1565940"/>
                <a:gd name="connsiteY0" fmla="*/ 0 h 599245"/>
                <a:gd name="connsiteX1" fmla="*/ 1528042 w 1565940"/>
                <a:gd name="connsiteY1" fmla="*/ 480469 h 599245"/>
                <a:gd name="connsiteX2" fmla="*/ 1565940 w 1565940"/>
                <a:gd name="connsiteY2" fmla="*/ 599245 h 599245"/>
                <a:gd name="connsiteX3" fmla="*/ 0 w 1565940"/>
                <a:gd name="connsiteY3" fmla="*/ 599245 h 599245"/>
                <a:gd name="connsiteX4" fmla="*/ 37898 w 1565940"/>
                <a:gd name="connsiteY4" fmla="*/ 480469 h 599245"/>
                <a:gd name="connsiteX5" fmla="*/ 782970 w 1565940"/>
                <a:gd name="connsiteY5" fmla="*/ 0 h 59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940" h="599245">
                  <a:moveTo>
                    <a:pt x="782970" y="0"/>
                  </a:moveTo>
                  <a:cubicBezTo>
                    <a:pt x="1117910" y="0"/>
                    <a:pt x="1405287" y="198118"/>
                    <a:pt x="1528042" y="480469"/>
                  </a:cubicBezTo>
                  <a:lnTo>
                    <a:pt x="1565940" y="599245"/>
                  </a:lnTo>
                  <a:lnTo>
                    <a:pt x="0" y="599245"/>
                  </a:lnTo>
                  <a:lnTo>
                    <a:pt x="37898" y="480469"/>
                  </a:lnTo>
                  <a:cubicBezTo>
                    <a:pt x="160653" y="198118"/>
                    <a:pt x="448030" y="0"/>
                    <a:pt x="7829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876" y="764502"/>
            <a:ext cx="5315035" cy="5328996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05455" y="755171"/>
            <a:ext cx="4619937" cy="5315035"/>
          </a:xfrm>
        </p:spPr>
        <p:txBody>
          <a:bodyPr anchor="ctr" anchorCtr="0">
            <a:normAutofit/>
          </a:bodyPr>
          <a:lstStyle>
            <a:lvl1pPr marL="0" indent="0">
              <a:spcBef>
                <a:spcPts val="1000"/>
              </a:spcBef>
              <a:spcAft>
                <a:spcPts val="800"/>
              </a:spcAft>
              <a:buNone/>
              <a:defRPr sz="2400"/>
            </a:lvl1pPr>
            <a:lvl2pPr marL="800100" indent="-34290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/>
            </a:lvl2pPr>
            <a:lvl3pPr marL="1200150" indent="-2857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/>
            </a:lvl3pPr>
            <a:lvl4pPr marL="1657350" indent="-2857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/>
            </a:lvl4pPr>
            <a:lvl5pPr marL="2114550" indent="-2857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/26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4E8926-80F4-404D-A082-4FD7557504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E5A8752-E7C3-004B-A500-9DABBD6AD4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8EAD2A-7350-A543-BF9E-5DC582BC40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CB3D38-414C-A64A-951E-85C4F1F75780}" type="datetime1">
              <a:rPr lang="en-US" smtClean="0"/>
              <a:t>1/2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924C9D-2F87-4849-88D3-41CB6B6D4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EE6E46-1A85-E340-913D-51341B550A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2A2B7-5AB2-8B42-B86C-59FD0C5679FD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34E196F-F6D0-5544-BA91-24E359D0911C}"/>
              </a:ext>
            </a:extLst>
          </p:cNvPr>
          <p:cNvGrpSpPr/>
          <p:nvPr userDrawn="1"/>
        </p:nvGrpSpPr>
        <p:grpSpPr>
          <a:xfrm>
            <a:off x="457200" y="5969717"/>
            <a:ext cx="11734800" cy="525780"/>
            <a:chOff x="555554" y="6161404"/>
            <a:chExt cx="8551589" cy="525780"/>
          </a:xfrm>
        </p:grpSpPr>
        <p:pic>
          <p:nvPicPr>
            <p:cNvPr id="9" name="Picture 8" descr="A picture containing drawing, food, parked&#10;&#10;Description automatically generated">
              <a:extLst>
                <a:ext uri="{FF2B5EF4-FFF2-40B4-BE49-F238E27FC236}">
                  <a16:creationId xmlns:a16="http://schemas.microsoft.com/office/drawing/2014/main" id="{C0C5CE5E-B095-F642-8130-F2760136145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5554" y="6161404"/>
              <a:ext cx="926588" cy="525780"/>
            </a:xfrm>
            <a:prstGeom prst="rect">
              <a:avLst/>
            </a:prstGeom>
          </p:spPr>
        </p:pic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2AD3056-DE0D-9F45-A39E-6A7F664284E2}"/>
                </a:ext>
              </a:extLst>
            </p:cNvPr>
            <p:cNvCxnSpPr>
              <a:cxnSpLocks/>
            </p:cNvCxnSpPr>
            <p:nvPr/>
          </p:nvCxnSpPr>
          <p:spPr>
            <a:xfrm>
              <a:off x="1600829" y="6538594"/>
              <a:ext cx="7506314" cy="0"/>
            </a:xfrm>
            <a:prstGeom prst="line">
              <a:avLst/>
            </a:prstGeom>
            <a:ln w="3810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042310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95B8C-32BE-064E-B7D1-9F22E5CFD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4C8C81-E088-9740-B22E-6C19435E11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E824ED-4EA8-2545-BC4C-CAD76F0DCA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CA4529-B2D4-BB4A-AC66-421DDCB84D47}" type="datetime1">
              <a:rPr lang="en-US" smtClean="0"/>
              <a:t>1/2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CBC484-C42F-0D4D-9C44-36D7E8C13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060889-A5F0-3242-B937-F8083DDF4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2A2B7-5AB2-8B42-B86C-59FD0C567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5679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8F1AA8-7661-7E4C-B1D2-B8CC18FAF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02E549-9B62-9445-A8A1-C0BA3F82D8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E61E7F-F045-C84A-8E80-1CECFF137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9DE5C-21BA-804D-AF0D-67EAFEB7EF1C}" type="datetime1">
              <a:rPr lang="en-US" smtClean="0"/>
              <a:t>1/2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28D930-CAA0-DC43-8E5F-9269DC9656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46DF40-781A-F547-B544-80DC2C597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2A2B7-5AB2-8B42-B86C-59FD0C567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8418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23CBD8-F0FE-9146-8122-DD71F0C71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8035F9-51AA-AD41-B9A2-5244ED8842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461250-86EA-5541-A123-C1A79AE2A2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26686F-D68C-354B-9987-D7D4A25C1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FB0995-2ACE-1B4B-812D-F99DDEB34F86}" type="datetime1">
              <a:rPr lang="en-US" smtClean="0"/>
              <a:t>1/2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68297A-9276-8E4C-9CC4-4CCE2C43AF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4EAC1A-0CDF-634F-8D64-C6B0C50C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2A2B7-5AB2-8B42-B86C-59FD0C567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3120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C2355C-DD78-AD47-B482-B9E52F946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776A60-EA4B-524F-8F12-CE54B3975D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CA60F3-EE36-A346-97ED-710E8CF968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523F0A-8283-D445-9DCE-8EBB7AEFB0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5544DAC-701B-5A4F-B85B-050AA2E92A0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A4906A4-F34D-D343-9BAE-90CD09C29F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BFE80-20D4-0544-A33A-61BF8189779E}" type="datetime1">
              <a:rPr lang="en-US" smtClean="0"/>
              <a:t>1/26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ABD374-22D9-CD4D-A8A2-F16BCDACFB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FDB23A-6E62-C44D-8EC3-0D9AC2A97D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2A2B7-5AB2-8B42-B86C-59FD0C567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8511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8E4727-5148-6C40-A2C9-7CF8394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E6410FC-7365-214D-AF93-FE7F519B20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048CD-5740-6743-B2C6-A0AB1D7D1E91}" type="datetime1">
              <a:rPr lang="en-US" smtClean="0"/>
              <a:t>1/26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984FFB-F55D-CD4F-AEC2-5339F1FBD0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AB5E19-7888-5245-82FB-F4CA050EBF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2A2B7-5AB2-8B42-B86C-59FD0C567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6440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69A2AA-E9F5-BC40-8951-559935B5DB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A38FD3-1F00-FA4C-89CB-9CE1710BD096}" type="datetime1">
              <a:rPr lang="en-US" smtClean="0"/>
              <a:t>1/26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9DF062-3EEC-C740-9FBB-AF30BE9C4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CC222C-3D4E-FC4A-BED2-567AA7CEA5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2A2B7-5AB2-8B42-B86C-59FD0C567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274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E96D25F-53A2-6217-84B4-7EB874F0B3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489189" y="941148"/>
            <a:ext cx="11182430" cy="4797821"/>
            <a:chOff x="489189" y="941148"/>
            <a:chExt cx="11182430" cy="4797821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A50FA62D-C8AE-52B8-1712-6116756D1A83}"/>
                </a:ext>
              </a:extLst>
            </p:cNvPr>
            <p:cNvSpPr/>
            <p:nvPr userDrawn="1"/>
          </p:nvSpPr>
          <p:spPr>
            <a:xfrm>
              <a:off x="489189" y="1119031"/>
              <a:ext cx="4619938" cy="461993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Arc 8">
              <a:extLst>
                <a:ext uri="{FF2B5EF4-FFF2-40B4-BE49-F238E27FC236}">
                  <a16:creationId xmlns:a16="http://schemas.microsoft.com/office/drawing/2014/main" id="{1D2D6A01-57CF-3C0B-968C-E5A8FD352320}"/>
                </a:ext>
              </a:extLst>
            </p:cNvPr>
            <p:cNvSpPr/>
            <p:nvPr userDrawn="1"/>
          </p:nvSpPr>
          <p:spPr>
            <a:xfrm rot="19809111">
              <a:off x="8683720" y="941148"/>
              <a:ext cx="2987899" cy="2987899"/>
            </a:xfrm>
            <a:prstGeom prst="arc">
              <a:avLst>
                <a:gd name="adj1" fmla="val 15817365"/>
                <a:gd name="adj2" fmla="val 1781380"/>
              </a:avLst>
            </a:prstGeom>
            <a:ln w="127000" cap="rnd">
              <a:solidFill>
                <a:schemeClr val="accent4"/>
              </a:solidFill>
              <a:prstDash val="dash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10BEFAA-C349-7DB1-1827-0FA48A430AD8}"/>
                </a:ext>
              </a:extLst>
            </p:cNvPr>
            <p:cNvSpPr/>
            <p:nvPr userDrawn="1"/>
          </p:nvSpPr>
          <p:spPr>
            <a:xfrm>
              <a:off x="910048" y="4780992"/>
              <a:ext cx="546100" cy="5461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957" y="1119031"/>
            <a:ext cx="4384736" cy="4619938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01708" y="554942"/>
            <a:ext cx="5552091" cy="5768220"/>
          </a:xfrm>
        </p:spPr>
        <p:txBody>
          <a:bodyPr anchor="ctr" anchorCtr="0">
            <a:normAutofit/>
          </a:bodyPr>
          <a:lstStyle>
            <a:lvl1pPr marL="0" indent="0">
              <a:spcBef>
                <a:spcPts val="1000"/>
              </a:spcBef>
              <a:spcAft>
                <a:spcPts val="800"/>
              </a:spcAft>
              <a:buNone/>
              <a:defRPr sz="2400"/>
            </a:lvl1pPr>
            <a:lvl2pPr marL="800100" indent="-34290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/>
            </a:lvl2pPr>
            <a:lvl3pPr marL="1200150" indent="-2857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/>
            </a:lvl3pPr>
            <a:lvl4pPr marL="1657350" indent="-2857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/>
            </a:lvl4pPr>
            <a:lvl5pPr marL="2114550" indent="-2857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1A2739-2426-0A4A-8C0F-F5EDC9F52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72FFDD-7149-944F-9EB1-1C37CC8FA2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0B6576-2E4E-EA47-9039-D08629F44F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954CC5-F298-5C4A-9116-AC319A4917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7B90FA-20D3-0D41-8A79-A2650D2A410E}" type="datetime1">
              <a:rPr lang="en-US" smtClean="0"/>
              <a:t>1/2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44E65C-270E-6A41-97D2-27B94C662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214005-F566-2341-A245-5B0EE719C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2A2B7-5AB2-8B42-B86C-59FD0C567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0290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D42A2A-CB76-4A48-9115-9E8CBE7FC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66BA89-7A52-2248-AE9E-6FB734BDE6B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D78368-2098-4C4A-ABB2-86D041BC71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1CF373-4067-B34A-AD18-882F928C78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13EC1-0B1D-A24C-8A7F-32B6F028E4C3}" type="datetime1">
              <a:rPr lang="en-US" smtClean="0"/>
              <a:t>1/2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EB0200-69DF-C94E-A397-F3C002A9E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403316-3D45-3B4F-8982-1DF82B529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2A2B7-5AB2-8B42-B86C-59FD0C567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7994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6137CD-36A0-3F46-A4EE-914BCF4C9F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EEB0F7-C058-5049-A6E6-AB99BC37A7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520E3-0ADD-1045-A975-250E3F6E5F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11533D-734D-F54A-98AB-79E347A6D7DF}" type="datetime1">
              <a:rPr lang="en-US" smtClean="0"/>
              <a:t>1/2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C51AE7-5D1B-3145-8591-325540B6A6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D133A4-CBA0-2441-A398-1D5736D2B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2A2B7-5AB2-8B42-B86C-59FD0C567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5983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8BB715C-33C9-5646-8920-3B30B5A416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DAAC78C-6BFF-C84D-A2BE-2C462F066B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B26404-D423-ED4E-9141-D553BE27A4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CBBC55-E493-BD44-A6AF-38A4E7D5E7AC}" type="datetime1">
              <a:rPr lang="en-US" smtClean="0"/>
              <a:t>1/2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CD3C1E-91D4-414F-B87E-F10C5A802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D0F6A0-7592-FB44-8E7F-35DE68B8D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2A2B7-5AB2-8B42-B86C-59FD0C567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9573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 White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91B420-3304-7D49-BF89-33A01B8D51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6224" y="72583"/>
            <a:ext cx="8013492" cy="760695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B35D25-2FFA-C84E-AF4F-9B13408F0D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1696CE-20CC-E94D-8429-EC9A431C88ED}" type="datetime1">
              <a:rPr lang="en-US" smtClean="0"/>
              <a:t>1/26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9BBBB0-67F7-D34B-A193-A28C8D79B9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C3EEE9-54F6-EC4E-A8EB-D097F0716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0128" y="6375797"/>
            <a:ext cx="2743200" cy="365125"/>
          </a:xfrm>
        </p:spPr>
        <p:txBody>
          <a:bodyPr/>
          <a:lstStyle/>
          <a:p>
            <a:fld id="{B05ABEAC-C38B-AC44-95C1-02BC86A136DC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F32A9FB-70CC-C04D-B338-8116543A69E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58825" y="1768603"/>
            <a:ext cx="10570891" cy="41153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FB81F30-530E-C84A-A2B2-D1B3F31FE0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8825" y="1098047"/>
            <a:ext cx="10571163" cy="5657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rgbClr val="575757"/>
                </a:solidFill>
              </a:defRPr>
            </a:lvl1pPr>
            <a:lvl2pPr>
              <a:defRPr>
                <a:solidFill>
                  <a:srgbClr val="0068B3"/>
                </a:solidFill>
              </a:defRPr>
            </a:lvl2pPr>
            <a:lvl3pPr>
              <a:defRPr>
                <a:solidFill>
                  <a:srgbClr val="0068B3"/>
                </a:solidFill>
              </a:defRPr>
            </a:lvl3pPr>
            <a:lvl4pPr>
              <a:defRPr>
                <a:solidFill>
                  <a:srgbClr val="0068B3"/>
                </a:solidFill>
              </a:defRPr>
            </a:lvl4pPr>
            <a:lvl5pPr>
              <a:defRPr>
                <a:solidFill>
                  <a:srgbClr val="0068B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44692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7B11E2-F332-46BD-AFF2-74028C671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047BF3-A8B7-4517-A84A-661F88EA14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2CD4EA-F86D-4949-8076-8471CEBA4C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401C11-DE6B-6F4E-99F7-1BE09BBBD6EA}" type="datetime1">
              <a:rPr lang="en-US" smtClean="0"/>
              <a:t>1/2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B6504B-8911-4651-85A3-756E34F06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434192-2533-4DD0-A9DB-697B4C0F6F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2A2B7-5AB2-8B42-B86C-59FD0C567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9040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4209431"/>
              </p:ext>
            </p:ext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211667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3FDA163-C670-DE46-9316-10E704A0F2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2" y="0"/>
            <a:ext cx="10262541" cy="1219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200" b="1" i="0" spc="0" baseline="0">
                <a:solidFill>
                  <a:schemeClr val="bg1"/>
                </a:solidFill>
                <a:latin typeface="Arial"/>
                <a:ea typeface="Frutiger 65"/>
                <a:cs typeface="Arial"/>
              </a:defRPr>
            </a:lvl1pPr>
          </a:lstStyle>
          <a:p>
            <a:r>
              <a:rPr lang="en-US"/>
              <a:t>Arial Bold 24 </a:t>
            </a:r>
            <a:r>
              <a:rPr lang="en-US" err="1"/>
              <a:t>p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31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59119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9EF93C3C-09E9-6CD0-EF4B-6DE09539EE7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011782 w 12192000"/>
              <a:gd name="connsiteY0" fmla="*/ 4817511 h 6858000"/>
              <a:gd name="connsiteX1" fmla="*/ 8937059 w 12192000"/>
              <a:gd name="connsiteY1" fmla="*/ 4972626 h 6858000"/>
              <a:gd name="connsiteX2" fmla="*/ 8588084 w 12192000"/>
              <a:gd name="connsiteY2" fmla="*/ 5489438 h 6858000"/>
              <a:gd name="connsiteX3" fmla="*/ 8565206 w 12192000"/>
              <a:gd name="connsiteY3" fmla="*/ 5514611 h 6858000"/>
              <a:gd name="connsiteX4" fmla="*/ 8569944 w 12192000"/>
              <a:gd name="connsiteY4" fmla="*/ 5520198 h 6858000"/>
              <a:gd name="connsiteX5" fmla="*/ 8878607 w 12192000"/>
              <a:gd name="connsiteY5" fmla="*/ 5644582 h 6858000"/>
              <a:gd name="connsiteX6" fmla="*/ 9315123 w 12192000"/>
              <a:gd name="connsiteY6" fmla="*/ 5219907 h 6858000"/>
              <a:gd name="connsiteX7" fmla="*/ 9048519 w 12192000"/>
              <a:gd name="connsiteY7" fmla="*/ 4828605 h 6858000"/>
              <a:gd name="connsiteX8" fmla="*/ 6096000 w 12192000"/>
              <a:gd name="connsiteY8" fmla="*/ 200625 h 6858000"/>
              <a:gd name="connsiteX9" fmla="*/ 2867625 w 12192000"/>
              <a:gd name="connsiteY9" fmla="*/ 3429000 h 6858000"/>
              <a:gd name="connsiteX10" fmla="*/ 6096000 w 12192000"/>
              <a:gd name="connsiteY10" fmla="*/ 6657375 h 6858000"/>
              <a:gd name="connsiteX11" fmla="*/ 9324375 w 12192000"/>
              <a:gd name="connsiteY11" fmla="*/ 3429000 h 6858000"/>
              <a:gd name="connsiteX12" fmla="*/ 6096000 w 12192000"/>
              <a:gd name="connsiteY12" fmla="*/ 200625 h 6858000"/>
              <a:gd name="connsiteX13" fmla="*/ 0 w 12192000"/>
              <a:gd name="connsiteY13" fmla="*/ 0 h 6858000"/>
              <a:gd name="connsiteX14" fmla="*/ 12192000 w 12192000"/>
              <a:gd name="connsiteY14" fmla="*/ 0 h 6858000"/>
              <a:gd name="connsiteX15" fmla="*/ 12192000 w 12192000"/>
              <a:gd name="connsiteY15" fmla="*/ 6858000 h 6858000"/>
              <a:gd name="connsiteX16" fmla="*/ 0 w 12192000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0" h="6858000">
                <a:moveTo>
                  <a:pt x="9011782" y="4817511"/>
                </a:moveTo>
                <a:lnTo>
                  <a:pt x="8937059" y="4972626"/>
                </a:lnTo>
                <a:cubicBezTo>
                  <a:pt x="8837255" y="5156349"/>
                  <a:pt x="8720206" y="5329344"/>
                  <a:pt x="8588084" y="5489438"/>
                </a:cubicBezTo>
                <a:lnTo>
                  <a:pt x="8565206" y="5514611"/>
                </a:lnTo>
                <a:lnTo>
                  <a:pt x="8569944" y="5520198"/>
                </a:lnTo>
                <a:cubicBezTo>
                  <a:pt x="8648938" y="5597049"/>
                  <a:pt x="8758066" y="5644582"/>
                  <a:pt x="8878607" y="5644582"/>
                </a:cubicBezTo>
                <a:cubicBezTo>
                  <a:pt x="9119688" y="5644582"/>
                  <a:pt x="9315123" y="5454449"/>
                  <a:pt x="9315123" y="5219907"/>
                </a:cubicBezTo>
                <a:cubicBezTo>
                  <a:pt x="9315123" y="5044001"/>
                  <a:pt x="9205191" y="4893074"/>
                  <a:pt x="9048519" y="4828605"/>
                </a:cubicBezTo>
                <a:close/>
                <a:moveTo>
                  <a:pt x="6096000" y="200625"/>
                </a:moveTo>
                <a:cubicBezTo>
                  <a:pt x="4313018" y="200625"/>
                  <a:pt x="2867625" y="1646018"/>
                  <a:pt x="2867625" y="3429000"/>
                </a:cubicBezTo>
                <a:cubicBezTo>
                  <a:pt x="2867625" y="5211982"/>
                  <a:pt x="4313018" y="6657375"/>
                  <a:pt x="6096000" y="6657375"/>
                </a:cubicBezTo>
                <a:cubicBezTo>
                  <a:pt x="7878982" y="6657375"/>
                  <a:pt x="9324375" y="5211982"/>
                  <a:pt x="9324375" y="3429000"/>
                </a:cubicBezTo>
                <a:cubicBezTo>
                  <a:pt x="9324375" y="1646018"/>
                  <a:pt x="7878982" y="200625"/>
                  <a:pt x="6096000" y="200625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insert picture</a:t>
            </a:r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D5C3C4BD-DFDB-76B4-17CA-7DA4D1729F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9366740" flipV="1">
            <a:off x="2557952" y="-89828"/>
            <a:ext cx="7173200" cy="7173200"/>
          </a:xfrm>
          <a:prstGeom prst="arc">
            <a:avLst>
              <a:gd name="adj1" fmla="val 16200000"/>
              <a:gd name="adj2" fmla="val 20401595"/>
            </a:avLst>
          </a:prstGeom>
          <a:ln w="127000" cap="rnd">
            <a:solidFill>
              <a:schemeClr val="accent4">
                <a:alpha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B04B61C-6467-D51D-0AF4-5C7D05F36C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8168" y="923544"/>
            <a:ext cx="6455664" cy="5010912"/>
          </a:xfrm>
          <a:prstGeom prst="rect">
            <a:avLst/>
          </a:prstGeom>
          <a:noFill/>
        </p:spPr>
        <p:txBody>
          <a:bodyPr lIns="0" rIns="0">
            <a:normAutofit/>
          </a:bodyPr>
          <a:lstStyle>
            <a:lvl1pPr algn="ctr">
              <a:defRPr sz="60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7A19F4B-D154-3EB2-F86A-9A63283A3E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8565206" y="4817511"/>
            <a:ext cx="749917" cy="827071"/>
          </a:xfrm>
          <a:custGeom>
            <a:avLst/>
            <a:gdLst>
              <a:gd name="connsiteX0" fmla="*/ 446576 w 749917"/>
              <a:gd name="connsiteY0" fmla="*/ 0 h 827071"/>
              <a:gd name="connsiteX1" fmla="*/ 483313 w 749917"/>
              <a:gd name="connsiteY1" fmla="*/ 11094 h 827071"/>
              <a:gd name="connsiteX2" fmla="*/ 749917 w 749917"/>
              <a:gd name="connsiteY2" fmla="*/ 402396 h 827071"/>
              <a:gd name="connsiteX3" fmla="*/ 313401 w 749917"/>
              <a:gd name="connsiteY3" fmla="*/ 827071 h 827071"/>
              <a:gd name="connsiteX4" fmla="*/ 4738 w 749917"/>
              <a:gd name="connsiteY4" fmla="*/ 702687 h 827071"/>
              <a:gd name="connsiteX5" fmla="*/ 0 w 749917"/>
              <a:gd name="connsiteY5" fmla="*/ 697100 h 827071"/>
              <a:gd name="connsiteX6" fmla="*/ 22878 w 749917"/>
              <a:gd name="connsiteY6" fmla="*/ 671927 h 827071"/>
              <a:gd name="connsiteX7" fmla="*/ 371853 w 749917"/>
              <a:gd name="connsiteY7" fmla="*/ 155115 h 827071"/>
              <a:gd name="connsiteX8" fmla="*/ 446576 w 749917"/>
              <a:gd name="connsiteY8" fmla="*/ 0 h 827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49917" h="827071">
                <a:moveTo>
                  <a:pt x="446576" y="0"/>
                </a:moveTo>
                <a:lnTo>
                  <a:pt x="483313" y="11094"/>
                </a:lnTo>
                <a:cubicBezTo>
                  <a:pt x="639985" y="75563"/>
                  <a:pt x="749917" y="226490"/>
                  <a:pt x="749917" y="402396"/>
                </a:cubicBezTo>
                <a:cubicBezTo>
                  <a:pt x="749917" y="636938"/>
                  <a:pt x="554482" y="827071"/>
                  <a:pt x="313401" y="827071"/>
                </a:cubicBezTo>
                <a:cubicBezTo>
                  <a:pt x="192860" y="827071"/>
                  <a:pt x="83732" y="779538"/>
                  <a:pt x="4738" y="702687"/>
                </a:cubicBezTo>
                <a:lnTo>
                  <a:pt x="0" y="697100"/>
                </a:lnTo>
                <a:lnTo>
                  <a:pt x="22878" y="671927"/>
                </a:lnTo>
                <a:cubicBezTo>
                  <a:pt x="155000" y="511833"/>
                  <a:pt x="272049" y="338838"/>
                  <a:pt x="371853" y="155115"/>
                </a:cubicBezTo>
                <a:lnTo>
                  <a:pt x="44657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8420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4803"/>
            <a:ext cx="10515600" cy="1472974"/>
          </a:xfrm>
        </p:spPr>
        <p:txBody>
          <a:bodyPr anchor="ctr" anchorCtr="0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E3FB7D8D-37C3-E089-EC02-FB49A13CBE1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1838099"/>
            <a:ext cx="8012113" cy="4284889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defRPr sz="1800"/>
            </a:lvl1pPr>
            <a:lvl2pPr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defRPr sz="1600"/>
            </a:lvl2pPr>
            <a:lvl3pPr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defRPr sz="1400"/>
            </a:lvl3pPr>
            <a:lvl4pPr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defRPr sz="1200"/>
            </a:lvl4pPr>
            <a:lvl5pPr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/26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reeform: Shape 14">
            <a:extLst>
              <a:ext uri="{FF2B5EF4-FFF2-40B4-BE49-F238E27FC236}">
                <a16:creationId xmlns:a16="http://schemas.microsoft.com/office/drawing/2014/main" id="{438B6FA2-AF11-618E-2B1A-38BF083DF3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-381048" y="5144407"/>
            <a:ext cx="1737401" cy="959536"/>
          </a:xfrm>
          <a:custGeom>
            <a:avLst/>
            <a:gdLst>
              <a:gd name="connsiteX0" fmla="*/ 0 w 1737401"/>
              <a:gd name="connsiteY0" fmla="*/ 0 h 959536"/>
              <a:gd name="connsiteX1" fmla="*/ 123825 w 1737401"/>
              <a:gd name="connsiteY1" fmla="*/ 0 h 959536"/>
              <a:gd name="connsiteX2" fmla="*/ 123825 w 1737401"/>
              <a:gd name="connsiteY2" fmla="*/ 790277 h 959536"/>
              <a:gd name="connsiteX3" fmla="*/ 1490095 w 1737401"/>
              <a:gd name="connsiteY3" fmla="*/ 0 h 959536"/>
              <a:gd name="connsiteX4" fmla="*/ 1737401 w 1737401"/>
              <a:gd name="connsiteY4" fmla="*/ 0 h 959536"/>
              <a:gd name="connsiteX5" fmla="*/ 92869 w 1737401"/>
              <a:gd name="connsiteY5" fmla="*/ 951249 h 959536"/>
              <a:gd name="connsiteX6" fmla="*/ 61913 w 1737401"/>
              <a:gd name="connsiteY6" fmla="*/ 959536 h 959536"/>
              <a:gd name="connsiteX7" fmla="*/ 0 w 1737401"/>
              <a:gd name="connsiteY7" fmla="*/ 897624 h 95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37401" h="959536">
                <a:moveTo>
                  <a:pt x="0" y="0"/>
                </a:moveTo>
                <a:lnTo>
                  <a:pt x="123825" y="0"/>
                </a:lnTo>
                <a:lnTo>
                  <a:pt x="123825" y="790277"/>
                </a:lnTo>
                <a:lnTo>
                  <a:pt x="1490095" y="0"/>
                </a:lnTo>
                <a:lnTo>
                  <a:pt x="1737401" y="0"/>
                </a:lnTo>
                <a:lnTo>
                  <a:pt x="92869" y="951249"/>
                </a:lnTo>
                <a:cubicBezTo>
                  <a:pt x="83458" y="956688"/>
                  <a:pt x="72780" y="959546"/>
                  <a:pt x="61913" y="959536"/>
                </a:cubicBezTo>
                <a:cubicBezTo>
                  <a:pt x="27719" y="959536"/>
                  <a:pt x="0" y="931818"/>
                  <a:pt x="0" y="897624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reeform: Shape 13">
            <a:extLst>
              <a:ext uri="{FF2B5EF4-FFF2-40B4-BE49-F238E27FC236}">
                <a16:creationId xmlns:a16="http://schemas.microsoft.com/office/drawing/2014/main" id="{A269A8D8-A4AE-CEFF-E928-7DB1CFB3E4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494433" y="2"/>
            <a:ext cx="849328" cy="357668"/>
          </a:xfrm>
          <a:custGeom>
            <a:avLst/>
            <a:gdLst>
              <a:gd name="connsiteX0" fmla="*/ 0 w 1135066"/>
              <a:gd name="connsiteY0" fmla="*/ 0 h 477997"/>
              <a:gd name="connsiteX1" fmla="*/ 1135066 w 1135066"/>
              <a:gd name="connsiteY1" fmla="*/ 0 h 477997"/>
              <a:gd name="connsiteX2" fmla="*/ 1133370 w 1135066"/>
              <a:gd name="connsiteY2" fmla="*/ 16827 h 477997"/>
              <a:gd name="connsiteX3" fmla="*/ 567533 w 1135066"/>
              <a:gd name="connsiteY3" fmla="*/ 477997 h 477997"/>
              <a:gd name="connsiteX4" fmla="*/ 1696 w 1135066"/>
              <a:gd name="connsiteY4" fmla="*/ 16827 h 47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066" h="477997">
                <a:moveTo>
                  <a:pt x="0" y="0"/>
                </a:moveTo>
                <a:lnTo>
                  <a:pt x="1135066" y="0"/>
                </a:lnTo>
                <a:lnTo>
                  <a:pt x="1133370" y="16827"/>
                </a:lnTo>
                <a:cubicBezTo>
                  <a:pt x="1079514" y="280016"/>
                  <a:pt x="846644" y="477997"/>
                  <a:pt x="567533" y="477997"/>
                </a:cubicBezTo>
                <a:cubicBezTo>
                  <a:pt x="288422" y="477997"/>
                  <a:pt x="55552" y="280016"/>
                  <a:pt x="1696" y="1682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eeform: Shape 19">
            <a:extLst>
              <a:ext uri="{FF2B5EF4-FFF2-40B4-BE49-F238E27FC236}">
                <a16:creationId xmlns:a16="http://schemas.microsoft.com/office/drawing/2014/main" id="{15418837-E689-97BE-9FAD-FEDBD599E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 flipH="1">
            <a:off x="11109434" y="3527042"/>
            <a:ext cx="1082566" cy="1616525"/>
          </a:xfrm>
          <a:custGeom>
            <a:avLst/>
            <a:gdLst>
              <a:gd name="connsiteX0" fmla="*/ 61913 w 1186451"/>
              <a:gd name="connsiteY0" fmla="*/ 0 h 1771650"/>
              <a:gd name="connsiteX1" fmla="*/ 1186451 w 1186451"/>
              <a:gd name="connsiteY1" fmla="*/ 0 h 1771650"/>
              <a:gd name="connsiteX2" fmla="*/ 1186451 w 1186451"/>
              <a:gd name="connsiteY2" fmla="*/ 123825 h 1771650"/>
              <a:gd name="connsiteX3" fmla="*/ 123825 w 1186451"/>
              <a:gd name="connsiteY3" fmla="*/ 123825 h 1771650"/>
              <a:gd name="connsiteX4" fmla="*/ 123825 w 1186451"/>
              <a:gd name="connsiteY4" fmla="*/ 1647825 h 1771650"/>
              <a:gd name="connsiteX5" fmla="*/ 1186451 w 1186451"/>
              <a:gd name="connsiteY5" fmla="*/ 1647825 h 1771650"/>
              <a:gd name="connsiteX6" fmla="*/ 1186451 w 1186451"/>
              <a:gd name="connsiteY6" fmla="*/ 1771650 h 1771650"/>
              <a:gd name="connsiteX7" fmla="*/ 61913 w 1186451"/>
              <a:gd name="connsiteY7" fmla="*/ 1771650 h 1771650"/>
              <a:gd name="connsiteX8" fmla="*/ 0 w 1186451"/>
              <a:gd name="connsiteY8" fmla="*/ 1709738 h 1771650"/>
              <a:gd name="connsiteX9" fmla="*/ 0 w 1186451"/>
              <a:gd name="connsiteY9" fmla="*/ 61913 h 1771650"/>
              <a:gd name="connsiteX10" fmla="*/ 61913 w 1186451"/>
              <a:gd name="connsiteY10" fmla="*/ 0 h 177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86451" h="1771650">
                <a:moveTo>
                  <a:pt x="61913" y="0"/>
                </a:moveTo>
                <a:lnTo>
                  <a:pt x="1186451" y="0"/>
                </a:lnTo>
                <a:lnTo>
                  <a:pt x="1186451" y="123825"/>
                </a:lnTo>
                <a:lnTo>
                  <a:pt x="123825" y="123825"/>
                </a:lnTo>
                <a:lnTo>
                  <a:pt x="123825" y="1647825"/>
                </a:lnTo>
                <a:lnTo>
                  <a:pt x="1186451" y="1647825"/>
                </a:lnTo>
                <a:lnTo>
                  <a:pt x="1186451" y="1771650"/>
                </a:lnTo>
                <a:lnTo>
                  <a:pt x="61913" y="1771650"/>
                </a:lnTo>
                <a:cubicBezTo>
                  <a:pt x="27719" y="1771650"/>
                  <a:pt x="0" y="1743932"/>
                  <a:pt x="0" y="1709738"/>
                </a:cubicBezTo>
                <a:lnTo>
                  <a:pt x="0" y="61913"/>
                </a:lnTo>
                <a:cubicBezTo>
                  <a:pt x="0" y="27719"/>
                  <a:pt x="27719" y="0"/>
                  <a:pt x="61913" y="0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7DF76A42-387B-8D66-1214-D404620700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940621" y="704193"/>
            <a:ext cx="2296455" cy="229645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2ACE818-46EF-547E-9315-A849483036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77652" y="0"/>
            <a:ext cx="8798419" cy="6816262"/>
            <a:chOff x="577652" y="-28502"/>
            <a:chExt cx="8798419" cy="681626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E9644D21-8793-9A96-F305-5D20EE342B26}"/>
                </a:ext>
              </a:extLst>
            </p:cNvPr>
            <p:cNvSpPr/>
            <p:nvPr userDrawn="1"/>
          </p:nvSpPr>
          <p:spPr>
            <a:xfrm>
              <a:off x="2815929" y="148929"/>
              <a:ext cx="6560142" cy="65601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Arc 9">
              <a:extLst>
                <a:ext uri="{FF2B5EF4-FFF2-40B4-BE49-F238E27FC236}">
                  <a16:creationId xmlns:a16="http://schemas.microsoft.com/office/drawing/2014/main" id="{DF8D7AEF-C845-09F0-F31C-20B32BBA1EBA}"/>
                </a:ext>
              </a:extLst>
            </p:cNvPr>
            <p:cNvSpPr/>
            <p:nvPr userDrawn="1"/>
          </p:nvSpPr>
          <p:spPr>
            <a:xfrm rot="9222429" flipV="1">
              <a:off x="2494119" y="-28502"/>
              <a:ext cx="6816262" cy="6816262"/>
            </a:xfrm>
            <a:prstGeom prst="arc">
              <a:avLst>
                <a:gd name="adj1" fmla="val 16200000"/>
                <a:gd name="adj2" fmla="val 20093138"/>
              </a:avLst>
            </a:prstGeom>
            <a:ln w="127000" cap="rnd">
              <a:solidFill>
                <a:schemeClr val="accent4">
                  <a:alpha val="9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F9D44CB-887B-C74D-3E96-5607E84DAEFF}"/>
                </a:ext>
              </a:extLst>
            </p:cNvPr>
            <p:cNvSpPr/>
            <p:nvPr userDrawn="1"/>
          </p:nvSpPr>
          <p:spPr>
            <a:xfrm>
              <a:off x="577652" y="1085116"/>
              <a:ext cx="759403" cy="738802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Freeform: Shape 19">
            <a:extLst>
              <a:ext uri="{FF2B5EF4-FFF2-40B4-BE49-F238E27FC236}">
                <a16:creationId xmlns:a16="http://schemas.microsoft.com/office/drawing/2014/main" id="{87D193F4-2337-0048-1BE7-C9A8154191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 flipH="1">
            <a:off x="936118" y="5508455"/>
            <a:ext cx="1082566" cy="1616525"/>
          </a:xfrm>
          <a:custGeom>
            <a:avLst/>
            <a:gdLst>
              <a:gd name="connsiteX0" fmla="*/ 61913 w 1186451"/>
              <a:gd name="connsiteY0" fmla="*/ 0 h 1771650"/>
              <a:gd name="connsiteX1" fmla="*/ 1186451 w 1186451"/>
              <a:gd name="connsiteY1" fmla="*/ 0 h 1771650"/>
              <a:gd name="connsiteX2" fmla="*/ 1186451 w 1186451"/>
              <a:gd name="connsiteY2" fmla="*/ 123825 h 1771650"/>
              <a:gd name="connsiteX3" fmla="*/ 123825 w 1186451"/>
              <a:gd name="connsiteY3" fmla="*/ 123825 h 1771650"/>
              <a:gd name="connsiteX4" fmla="*/ 123825 w 1186451"/>
              <a:gd name="connsiteY4" fmla="*/ 1647825 h 1771650"/>
              <a:gd name="connsiteX5" fmla="*/ 1186451 w 1186451"/>
              <a:gd name="connsiteY5" fmla="*/ 1647825 h 1771650"/>
              <a:gd name="connsiteX6" fmla="*/ 1186451 w 1186451"/>
              <a:gd name="connsiteY6" fmla="*/ 1771650 h 1771650"/>
              <a:gd name="connsiteX7" fmla="*/ 61913 w 1186451"/>
              <a:gd name="connsiteY7" fmla="*/ 1771650 h 1771650"/>
              <a:gd name="connsiteX8" fmla="*/ 0 w 1186451"/>
              <a:gd name="connsiteY8" fmla="*/ 1709738 h 1771650"/>
              <a:gd name="connsiteX9" fmla="*/ 0 w 1186451"/>
              <a:gd name="connsiteY9" fmla="*/ 61913 h 1771650"/>
              <a:gd name="connsiteX10" fmla="*/ 61913 w 1186451"/>
              <a:gd name="connsiteY10" fmla="*/ 0 h 177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86451" h="1771650">
                <a:moveTo>
                  <a:pt x="61913" y="0"/>
                </a:moveTo>
                <a:lnTo>
                  <a:pt x="1186451" y="0"/>
                </a:lnTo>
                <a:lnTo>
                  <a:pt x="1186451" y="123825"/>
                </a:lnTo>
                <a:lnTo>
                  <a:pt x="123825" y="123825"/>
                </a:lnTo>
                <a:lnTo>
                  <a:pt x="123825" y="1647825"/>
                </a:lnTo>
                <a:lnTo>
                  <a:pt x="1186451" y="1647825"/>
                </a:lnTo>
                <a:lnTo>
                  <a:pt x="1186451" y="1771650"/>
                </a:lnTo>
                <a:lnTo>
                  <a:pt x="61913" y="1771650"/>
                </a:lnTo>
                <a:cubicBezTo>
                  <a:pt x="27719" y="1771650"/>
                  <a:pt x="0" y="1743932"/>
                  <a:pt x="0" y="1709738"/>
                </a:cubicBezTo>
                <a:lnTo>
                  <a:pt x="0" y="61913"/>
                </a:lnTo>
                <a:cubicBezTo>
                  <a:pt x="0" y="27719"/>
                  <a:pt x="27719" y="0"/>
                  <a:pt x="61913" y="0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5EE4510-BCBA-C39A-BEF1-A391A3304F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1494655" y="5270490"/>
            <a:ext cx="0" cy="1597708"/>
          </a:xfrm>
          <a:prstGeom prst="line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15929" y="1349825"/>
            <a:ext cx="6560142" cy="3063149"/>
          </a:xfrm>
        </p:spPr>
        <p:txBody>
          <a:bodyPr anchor="ctr">
            <a:no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15929" y="4412973"/>
            <a:ext cx="6560142" cy="1935571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070940-5919-2C95-2278-32E50BF14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/26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7D599-49CF-19FE-6D86-C5EDB765F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931DF1-1C8D-86B9-BFDD-098FFC00F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813049-5F46-053E-6279-8183259649A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4915163" cy="4297680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800"/>
              </a:spcAft>
              <a:buNone/>
              <a:defRPr sz="2000"/>
            </a:lvl1pPr>
            <a:lvl2pPr marL="228600" indent="-22860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/>
            </a:lvl2pPr>
            <a:lvl3pPr marL="594360" indent="-22860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/>
            </a:lvl3pPr>
            <a:lvl4pPr marL="868680" indent="-22860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/>
            </a:lvl4pPr>
            <a:lvl5pPr marL="1143000" indent="-22860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FB01ADF-164A-96FB-0129-C2A0F0ED0A85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147896" y="1816916"/>
            <a:ext cx="5212080" cy="4297680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800"/>
              </a:spcAft>
              <a:buNone/>
              <a:defRPr sz="2000"/>
            </a:lvl1pPr>
            <a:lvl2pPr marL="228600" indent="-22860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/>
            </a:lvl2pPr>
            <a:lvl3pPr marL="594360" indent="-22860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/>
            </a:lvl3pPr>
            <a:lvl4pPr marL="868680" indent="-22860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/>
            </a:lvl4pPr>
            <a:lvl5pPr marL="1143000" indent="-22860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263F0DD-A38B-64B8-7412-087B487E6D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23536" y="2"/>
            <a:ext cx="12068464" cy="6857998"/>
            <a:chOff x="123536" y="2"/>
            <a:chExt cx="12068464" cy="6857998"/>
          </a:xfrm>
        </p:grpSpPr>
        <p:sp>
          <p:nvSpPr>
            <p:cNvPr id="12" name="Freeform: Shape 9">
              <a:extLst>
                <a:ext uri="{FF2B5EF4-FFF2-40B4-BE49-F238E27FC236}">
                  <a16:creationId xmlns:a16="http://schemas.microsoft.com/office/drawing/2014/main" id="{44CE2FB7-A856-E3C3-9798-73AAFB7901B8}"/>
                </a:ext>
              </a:extLst>
            </p:cNvPr>
            <p:cNvSpPr/>
            <p:nvPr userDrawn="1"/>
          </p:nvSpPr>
          <p:spPr>
            <a:xfrm>
              <a:off x="5671336" y="2"/>
              <a:ext cx="849328" cy="357668"/>
            </a:xfrm>
            <a:custGeom>
              <a:avLst/>
              <a:gdLst>
                <a:gd name="connsiteX0" fmla="*/ 0 w 1135066"/>
                <a:gd name="connsiteY0" fmla="*/ 0 h 477997"/>
                <a:gd name="connsiteX1" fmla="*/ 1135066 w 1135066"/>
                <a:gd name="connsiteY1" fmla="*/ 0 h 477997"/>
                <a:gd name="connsiteX2" fmla="*/ 1133370 w 1135066"/>
                <a:gd name="connsiteY2" fmla="*/ 16827 h 477997"/>
                <a:gd name="connsiteX3" fmla="*/ 567533 w 1135066"/>
                <a:gd name="connsiteY3" fmla="*/ 477997 h 477997"/>
                <a:gd name="connsiteX4" fmla="*/ 1696 w 1135066"/>
                <a:gd name="connsiteY4" fmla="*/ 16827 h 47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5066" h="477997">
                  <a:moveTo>
                    <a:pt x="0" y="0"/>
                  </a:moveTo>
                  <a:lnTo>
                    <a:pt x="1135066" y="0"/>
                  </a:lnTo>
                  <a:lnTo>
                    <a:pt x="1133370" y="16827"/>
                  </a:lnTo>
                  <a:cubicBezTo>
                    <a:pt x="1079514" y="280016"/>
                    <a:pt x="846644" y="477997"/>
                    <a:pt x="567533" y="477997"/>
                  </a:cubicBezTo>
                  <a:cubicBezTo>
                    <a:pt x="288422" y="477997"/>
                    <a:pt x="55552" y="280016"/>
                    <a:pt x="1696" y="1682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: Shape 10">
              <a:extLst>
                <a:ext uri="{FF2B5EF4-FFF2-40B4-BE49-F238E27FC236}">
                  <a16:creationId xmlns:a16="http://schemas.microsoft.com/office/drawing/2014/main" id="{47ED62E5-894A-A8F9-A6DC-4A5C147CDE78}"/>
                </a:ext>
              </a:extLst>
            </p:cNvPr>
            <p:cNvSpPr/>
            <p:nvPr userDrawn="1"/>
          </p:nvSpPr>
          <p:spPr>
            <a:xfrm flipH="1">
              <a:off x="123536" y="5717905"/>
              <a:ext cx="1771609" cy="1140095"/>
            </a:xfrm>
            <a:custGeom>
              <a:avLst/>
              <a:gdLst>
                <a:gd name="connsiteX0" fmla="*/ 1561721 w 1771609"/>
                <a:gd name="connsiteY0" fmla="*/ 763041 h 1140095"/>
                <a:gd name="connsiteX1" fmla="*/ 1623024 w 1771609"/>
                <a:gd name="connsiteY1" fmla="*/ 792810 h 1140095"/>
                <a:gd name="connsiteX2" fmla="*/ 1711735 w 1771609"/>
                <a:gd name="connsiteY2" fmla="*/ 970132 h 1140095"/>
                <a:gd name="connsiteX3" fmla="*/ 1771609 w 1771609"/>
                <a:gd name="connsiteY3" fmla="*/ 1140095 h 1140095"/>
                <a:gd name="connsiteX4" fmla="*/ 1637225 w 1771609"/>
                <a:gd name="connsiteY4" fmla="*/ 1140095 h 1140095"/>
                <a:gd name="connsiteX5" fmla="*/ 1594820 w 1771609"/>
                <a:gd name="connsiteY5" fmla="*/ 1019711 h 1140095"/>
                <a:gd name="connsiteX6" fmla="*/ 1513200 w 1771609"/>
                <a:gd name="connsiteY6" fmla="*/ 856627 h 1140095"/>
                <a:gd name="connsiteX7" fmla="*/ 1538499 w 1771609"/>
                <a:gd name="connsiteY7" fmla="*/ 770415 h 1140095"/>
                <a:gd name="connsiteX8" fmla="*/ 1561721 w 1771609"/>
                <a:gd name="connsiteY8" fmla="*/ 763041 h 1140095"/>
                <a:gd name="connsiteX9" fmla="*/ 933455 w 1771609"/>
                <a:gd name="connsiteY9" fmla="*/ 161309 h 1140095"/>
                <a:gd name="connsiteX10" fmla="*/ 957797 w 1771609"/>
                <a:gd name="connsiteY10" fmla="*/ 167970 h 1140095"/>
                <a:gd name="connsiteX11" fmla="*/ 1286982 w 1771609"/>
                <a:gd name="connsiteY11" fmla="*/ 387616 h 1140095"/>
                <a:gd name="connsiteX12" fmla="*/ 1293725 w 1771609"/>
                <a:gd name="connsiteY12" fmla="*/ 477075 h 1140095"/>
                <a:gd name="connsiteX13" fmla="*/ 1245453 w 1771609"/>
                <a:gd name="connsiteY13" fmla="*/ 499154 h 1140095"/>
                <a:gd name="connsiteX14" fmla="*/ 1245167 w 1771609"/>
                <a:gd name="connsiteY14" fmla="*/ 499154 h 1140095"/>
                <a:gd name="connsiteX15" fmla="*/ 1203638 w 1771609"/>
                <a:gd name="connsiteY15" fmla="*/ 484104 h 1140095"/>
                <a:gd name="connsiteX16" fmla="*/ 900647 w 1771609"/>
                <a:gd name="connsiteY16" fmla="*/ 281508 h 1140095"/>
                <a:gd name="connsiteX17" fmla="*/ 872454 w 1771609"/>
                <a:gd name="connsiteY17" fmla="*/ 196164 h 1140095"/>
                <a:gd name="connsiteX18" fmla="*/ 933455 w 1771609"/>
                <a:gd name="connsiteY18" fmla="*/ 161309 h 1140095"/>
                <a:gd name="connsiteX19" fmla="*/ 256260 w 1771609"/>
                <a:gd name="connsiteY19" fmla="*/ 29 h 1140095"/>
                <a:gd name="connsiteX20" fmla="*/ 454020 w 1771609"/>
                <a:gd name="connsiteY20" fmla="*/ 13474 h 1140095"/>
                <a:gd name="connsiteX21" fmla="*/ 509236 w 1771609"/>
                <a:gd name="connsiteY21" fmla="*/ 84182 h 1140095"/>
                <a:gd name="connsiteX22" fmla="*/ 445829 w 1771609"/>
                <a:gd name="connsiteY22" fmla="*/ 139871 h 1140095"/>
                <a:gd name="connsiteX23" fmla="*/ 437447 w 1771609"/>
                <a:gd name="connsiteY23" fmla="*/ 139395 h 1140095"/>
                <a:gd name="connsiteX24" fmla="*/ 73211 w 1771609"/>
                <a:gd name="connsiteY24" fmla="*/ 137204 h 1140095"/>
                <a:gd name="connsiteX25" fmla="*/ 749 w 1771609"/>
                <a:gd name="connsiteY25" fmla="*/ 84082 h 1140095"/>
                <a:gd name="connsiteX26" fmla="*/ 53871 w 1771609"/>
                <a:gd name="connsiteY26" fmla="*/ 11621 h 1140095"/>
                <a:gd name="connsiteX27" fmla="*/ 58352 w 1771609"/>
                <a:gd name="connsiteY27" fmla="*/ 11093 h 1140095"/>
                <a:gd name="connsiteX28" fmla="*/ 256260 w 1771609"/>
                <a:gd name="connsiteY28" fmla="*/ 29 h 1140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771609" h="1140095">
                  <a:moveTo>
                    <a:pt x="1561721" y="763041"/>
                  </a:moveTo>
                  <a:cubicBezTo>
                    <a:pt x="1585506" y="760324"/>
                    <a:pt x="1609722" y="771249"/>
                    <a:pt x="1623024" y="792810"/>
                  </a:cubicBezTo>
                  <a:cubicBezTo>
                    <a:pt x="1656300" y="850065"/>
                    <a:pt x="1685920" y="909291"/>
                    <a:pt x="1711735" y="970132"/>
                  </a:cubicBezTo>
                  <a:lnTo>
                    <a:pt x="1771609" y="1140095"/>
                  </a:lnTo>
                  <a:lnTo>
                    <a:pt x="1637225" y="1140095"/>
                  </a:lnTo>
                  <a:lnTo>
                    <a:pt x="1594820" y="1019711"/>
                  </a:lnTo>
                  <a:cubicBezTo>
                    <a:pt x="1571072" y="963753"/>
                    <a:pt x="1543818" y="909282"/>
                    <a:pt x="1513200" y="856627"/>
                  </a:cubicBezTo>
                  <a:cubicBezTo>
                    <a:pt x="1496379" y="825834"/>
                    <a:pt x="1507704" y="787236"/>
                    <a:pt x="1538499" y="770415"/>
                  </a:cubicBezTo>
                  <a:cubicBezTo>
                    <a:pt x="1545912" y="766367"/>
                    <a:pt x="1553792" y="763946"/>
                    <a:pt x="1561721" y="763041"/>
                  </a:cubicBezTo>
                  <a:close/>
                  <a:moveTo>
                    <a:pt x="933455" y="161309"/>
                  </a:moveTo>
                  <a:cubicBezTo>
                    <a:pt x="941693" y="161855"/>
                    <a:pt x="949959" y="164025"/>
                    <a:pt x="957797" y="167970"/>
                  </a:cubicBezTo>
                  <a:cubicBezTo>
                    <a:pt x="1076184" y="227289"/>
                    <a:pt x="1186759" y="301068"/>
                    <a:pt x="1286982" y="387616"/>
                  </a:cubicBezTo>
                  <a:cubicBezTo>
                    <a:pt x="1313547" y="410457"/>
                    <a:pt x="1316566" y="450510"/>
                    <a:pt x="1293725" y="477075"/>
                  </a:cubicBezTo>
                  <a:cubicBezTo>
                    <a:pt x="1281638" y="491137"/>
                    <a:pt x="1263998" y="499204"/>
                    <a:pt x="1245453" y="499154"/>
                  </a:cubicBezTo>
                  <a:lnTo>
                    <a:pt x="1245167" y="499154"/>
                  </a:lnTo>
                  <a:cubicBezTo>
                    <a:pt x="1229965" y="499301"/>
                    <a:pt x="1215220" y="493956"/>
                    <a:pt x="1203638" y="484104"/>
                  </a:cubicBezTo>
                  <a:cubicBezTo>
                    <a:pt x="1111407" y="404300"/>
                    <a:pt x="1009633" y="336248"/>
                    <a:pt x="900647" y="281508"/>
                  </a:cubicBezTo>
                  <a:cubicBezTo>
                    <a:pt x="869295" y="265726"/>
                    <a:pt x="856672" y="227516"/>
                    <a:pt x="872454" y="196164"/>
                  </a:cubicBezTo>
                  <a:cubicBezTo>
                    <a:pt x="884290" y="172650"/>
                    <a:pt x="908742" y="159670"/>
                    <a:pt x="933455" y="161309"/>
                  </a:cubicBezTo>
                  <a:close/>
                  <a:moveTo>
                    <a:pt x="256260" y="29"/>
                  </a:moveTo>
                  <a:cubicBezTo>
                    <a:pt x="322331" y="427"/>
                    <a:pt x="388378" y="4909"/>
                    <a:pt x="454020" y="13474"/>
                  </a:cubicBezTo>
                  <a:cubicBezTo>
                    <a:pt x="488793" y="17752"/>
                    <a:pt x="513514" y="49409"/>
                    <a:pt x="509236" y="84182"/>
                  </a:cubicBezTo>
                  <a:cubicBezTo>
                    <a:pt x="505303" y="116151"/>
                    <a:pt x="478038" y="140098"/>
                    <a:pt x="445829" y="139871"/>
                  </a:cubicBezTo>
                  <a:cubicBezTo>
                    <a:pt x="443027" y="139899"/>
                    <a:pt x="440227" y="139740"/>
                    <a:pt x="437447" y="139395"/>
                  </a:cubicBezTo>
                  <a:cubicBezTo>
                    <a:pt x="316592" y="123615"/>
                    <a:pt x="194247" y="122878"/>
                    <a:pt x="73211" y="137204"/>
                  </a:cubicBezTo>
                  <a:cubicBezTo>
                    <a:pt x="38532" y="142545"/>
                    <a:pt x="6090" y="118762"/>
                    <a:pt x="749" y="84082"/>
                  </a:cubicBezTo>
                  <a:cubicBezTo>
                    <a:pt x="-4591" y="49403"/>
                    <a:pt x="19192" y="16961"/>
                    <a:pt x="53871" y="11621"/>
                  </a:cubicBezTo>
                  <a:cubicBezTo>
                    <a:pt x="55358" y="11392"/>
                    <a:pt x="56852" y="11216"/>
                    <a:pt x="58352" y="11093"/>
                  </a:cubicBezTo>
                  <a:cubicBezTo>
                    <a:pt x="124093" y="3319"/>
                    <a:pt x="190189" y="-369"/>
                    <a:pt x="256260" y="29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: Shape 11">
              <a:extLst>
                <a:ext uri="{FF2B5EF4-FFF2-40B4-BE49-F238E27FC236}">
                  <a16:creationId xmlns:a16="http://schemas.microsoft.com/office/drawing/2014/main" id="{5C181CD4-C69B-2826-AF23-060D677248A9}"/>
                </a:ext>
              </a:extLst>
            </p:cNvPr>
            <p:cNvSpPr/>
            <p:nvPr userDrawn="1"/>
          </p:nvSpPr>
          <p:spPr>
            <a:xfrm rot="5400000">
              <a:off x="11328915" y="3872201"/>
              <a:ext cx="1214656" cy="511514"/>
            </a:xfrm>
            <a:custGeom>
              <a:avLst/>
              <a:gdLst>
                <a:gd name="connsiteX0" fmla="*/ 0 w 1135066"/>
                <a:gd name="connsiteY0" fmla="*/ 0 h 477997"/>
                <a:gd name="connsiteX1" fmla="*/ 1135066 w 1135066"/>
                <a:gd name="connsiteY1" fmla="*/ 0 h 477997"/>
                <a:gd name="connsiteX2" fmla="*/ 1133370 w 1135066"/>
                <a:gd name="connsiteY2" fmla="*/ 16827 h 477997"/>
                <a:gd name="connsiteX3" fmla="*/ 567533 w 1135066"/>
                <a:gd name="connsiteY3" fmla="*/ 477997 h 477997"/>
                <a:gd name="connsiteX4" fmla="*/ 1696 w 1135066"/>
                <a:gd name="connsiteY4" fmla="*/ 16827 h 47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5066" h="477997">
                  <a:moveTo>
                    <a:pt x="0" y="0"/>
                  </a:moveTo>
                  <a:lnTo>
                    <a:pt x="1135066" y="0"/>
                  </a:lnTo>
                  <a:lnTo>
                    <a:pt x="1133370" y="16827"/>
                  </a:lnTo>
                  <a:cubicBezTo>
                    <a:pt x="1079514" y="280016"/>
                    <a:pt x="846644" y="477997"/>
                    <a:pt x="567533" y="477997"/>
                  </a:cubicBezTo>
                  <a:cubicBezTo>
                    <a:pt x="288422" y="477997"/>
                    <a:pt x="55552" y="280016"/>
                    <a:pt x="1696" y="1682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/26/20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0538251-2B75-FA20-0F29-FB58583E6125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1" y="1825625"/>
            <a:ext cx="3108958" cy="429768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/>
            </a:lvl1pPr>
            <a:lvl2pPr marL="285750" indent="-2857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/>
            </a:lvl2pPr>
            <a:lvl3pPr marL="651510" indent="-2857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/>
            </a:lvl3pPr>
            <a:lvl4pPr marL="925830" indent="-2857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/>
            </a:lvl4pPr>
            <a:lvl5pPr marL="1200150" indent="-2857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06C49DD-8C29-93EA-04F4-22F84080DF5C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661820" y="1816916"/>
            <a:ext cx="6698156" cy="4297680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800"/>
              </a:spcAft>
              <a:buNone/>
              <a:defRPr sz="1800"/>
            </a:lvl1pPr>
            <a:lvl2pPr marL="228600" indent="-22860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/>
            </a:lvl2pPr>
            <a:lvl3pPr marL="594360" indent="-22860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/>
            </a:lvl3pPr>
            <a:lvl4pPr marL="868680" indent="-22860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/>
            </a:lvl4pPr>
            <a:lvl5pPr marL="1143000" indent="-22860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/26/20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1E75594D-82D2-74F6-56EC-46FCD28CBE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94966" y="0"/>
            <a:ext cx="1214656" cy="511514"/>
          </a:xfrm>
          <a:custGeom>
            <a:avLst/>
            <a:gdLst>
              <a:gd name="connsiteX0" fmla="*/ 0 w 1135066"/>
              <a:gd name="connsiteY0" fmla="*/ 0 h 477997"/>
              <a:gd name="connsiteX1" fmla="*/ 1135066 w 1135066"/>
              <a:gd name="connsiteY1" fmla="*/ 0 h 477997"/>
              <a:gd name="connsiteX2" fmla="*/ 1133370 w 1135066"/>
              <a:gd name="connsiteY2" fmla="*/ 16827 h 477997"/>
              <a:gd name="connsiteX3" fmla="*/ 567533 w 1135066"/>
              <a:gd name="connsiteY3" fmla="*/ 477997 h 477997"/>
              <a:gd name="connsiteX4" fmla="*/ 1696 w 1135066"/>
              <a:gd name="connsiteY4" fmla="*/ 16827 h 47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066" h="477997">
                <a:moveTo>
                  <a:pt x="0" y="0"/>
                </a:moveTo>
                <a:lnTo>
                  <a:pt x="1135066" y="0"/>
                </a:lnTo>
                <a:lnTo>
                  <a:pt x="1133370" y="16827"/>
                </a:lnTo>
                <a:cubicBezTo>
                  <a:pt x="1079514" y="280016"/>
                  <a:pt x="846644" y="477997"/>
                  <a:pt x="567533" y="477997"/>
                </a:cubicBezTo>
                <a:cubicBezTo>
                  <a:pt x="288422" y="477997"/>
                  <a:pt x="55552" y="280016"/>
                  <a:pt x="1696" y="1682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reeform: Shape 13">
            <a:extLst>
              <a:ext uri="{FF2B5EF4-FFF2-40B4-BE49-F238E27FC236}">
                <a16:creationId xmlns:a16="http://schemas.microsoft.com/office/drawing/2014/main" id="{FF4E0F5B-0892-2688-EFD3-284369DA50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8097530" y="5590215"/>
            <a:ext cx="2279742" cy="1267785"/>
          </a:xfrm>
          <a:custGeom>
            <a:avLst/>
            <a:gdLst>
              <a:gd name="connsiteX0" fmla="*/ 0 w 2279742"/>
              <a:gd name="connsiteY0" fmla="*/ 0 h 1267785"/>
              <a:gd name="connsiteX1" fmla="*/ 138700 w 2279742"/>
              <a:gd name="connsiteY1" fmla="*/ 0 h 1267785"/>
              <a:gd name="connsiteX2" fmla="*/ 138700 w 2279742"/>
              <a:gd name="connsiteY2" fmla="*/ 1078193 h 1267785"/>
              <a:gd name="connsiteX3" fmla="*/ 2002733 w 2279742"/>
              <a:gd name="connsiteY3" fmla="*/ 0 h 1267785"/>
              <a:gd name="connsiteX4" fmla="*/ 2279742 w 2279742"/>
              <a:gd name="connsiteY4" fmla="*/ 0 h 1267785"/>
              <a:gd name="connsiteX5" fmla="*/ 104026 w 2279742"/>
              <a:gd name="connsiteY5" fmla="*/ 1258503 h 1267785"/>
              <a:gd name="connsiteX6" fmla="*/ 69351 w 2279742"/>
              <a:gd name="connsiteY6" fmla="*/ 1267785 h 1267785"/>
              <a:gd name="connsiteX7" fmla="*/ 0 w 2279742"/>
              <a:gd name="connsiteY7" fmla="*/ 1198436 h 1267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79742" h="1267785">
                <a:moveTo>
                  <a:pt x="0" y="0"/>
                </a:moveTo>
                <a:lnTo>
                  <a:pt x="138700" y="0"/>
                </a:lnTo>
                <a:lnTo>
                  <a:pt x="138700" y="1078193"/>
                </a:lnTo>
                <a:lnTo>
                  <a:pt x="2002733" y="0"/>
                </a:lnTo>
                <a:lnTo>
                  <a:pt x="2279742" y="0"/>
                </a:lnTo>
                <a:lnTo>
                  <a:pt x="104026" y="1258503"/>
                </a:lnTo>
                <a:cubicBezTo>
                  <a:pt x="93484" y="1264595"/>
                  <a:pt x="81523" y="1267796"/>
                  <a:pt x="69351" y="1267785"/>
                </a:cubicBezTo>
                <a:cubicBezTo>
                  <a:pt x="31049" y="1267785"/>
                  <a:pt x="0" y="1236737"/>
                  <a:pt x="0" y="1198436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1D8715A-3067-732D-C410-868C7CCCF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982378" y="5512123"/>
            <a:ext cx="0" cy="1597708"/>
          </a:xfrm>
          <a:prstGeom prst="line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807BCF9-2F5B-200E-2E6C-E177DB56EC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7458"/>
            <a:ext cx="7083733" cy="6182202"/>
            <a:chOff x="0" y="7460"/>
            <a:chExt cx="7083733" cy="6182202"/>
          </a:xfrm>
        </p:grpSpPr>
        <p:sp>
          <p:nvSpPr>
            <p:cNvPr id="9" name="Freeform: Shape 14">
              <a:extLst>
                <a:ext uri="{FF2B5EF4-FFF2-40B4-BE49-F238E27FC236}">
                  <a16:creationId xmlns:a16="http://schemas.microsoft.com/office/drawing/2014/main" id="{7A624B2B-50FD-9351-987F-2E5A5472CAB6}"/>
                </a:ext>
              </a:extLst>
            </p:cNvPr>
            <p:cNvSpPr/>
            <p:nvPr userDrawn="1"/>
          </p:nvSpPr>
          <p:spPr>
            <a:xfrm rot="16200000">
              <a:off x="-388933" y="4841194"/>
              <a:ext cx="1737401" cy="959536"/>
            </a:xfrm>
            <a:custGeom>
              <a:avLst/>
              <a:gdLst>
                <a:gd name="connsiteX0" fmla="*/ 0 w 1737401"/>
                <a:gd name="connsiteY0" fmla="*/ 0 h 959536"/>
                <a:gd name="connsiteX1" fmla="*/ 123825 w 1737401"/>
                <a:gd name="connsiteY1" fmla="*/ 0 h 959536"/>
                <a:gd name="connsiteX2" fmla="*/ 123825 w 1737401"/>
                <a:gd name="connsiteY2" fmla="*/ 790277 h 959536"/>
                <a:gd name="connsiteX3" fmla="*/ 1490095 w 1737401"/>
                <a:gd name="connsiteY3" fmla="*/ 0 h 959536"/>
                <a:gd name="connsiteX4" fmla="*/ 1737401 w 1737401"/>
                <a:gd name="connsiteY4" fmla="*/ 0 h 959536"/>
                <a:gd name="connsiteX5" fmla="*/ 92869 w 1737401"/>
                <a:gd name="connsiteY5" fmla="*/ 951249 h 959536"/>
                <a:gd name="connsiteX6" fmla="*/ 61913 w 1737401"/>
                <a:gd name="connsiteY6" fmla="*/ 959536 h 959536"/>
                <a:gd name="connsiteX7" fmla="*/ 0 w 1737401"/>
                <a:gd name="connsiteY7" fmla="*/ 897624 h 959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7401" h="959536">
                  <a:moveTo>
                    <a:pt x="0" y="0"/>
                  </a:moveTo>
                  <a:lnTo>
                    <a:pt x="123825" y="0"/>
                  </a:lnTo>
                  <a:lnTo>
                    <a:pt x="123825" y="790277"/>
                  </a:lnTo>
                  <a:lnTo>
                    <a:pt x="1490095" y="0"/>
                  </a:lnTo>
                  <a:lnTo>
                    <a:pt x="1737401" y="0"/>
                  </a:lnTo>
                  <a:lnTo>
                    <a:pt x="92869" y="951249"/>
                  </a:lnTo>
                  <a:cubicBezTo>
                    <a:pt x="83458" y="956688"/>
                    <a:pt x="72780" y="959546"/>
                    <a:pt x="61913" y="959536"/>
                  </a:cubicBezTo>
                  <a:cubicBezTo>
                    <a:pt x="27719" y="959536"/>
                    <a:pt x="0" y="931818"/>
                    <a:pt x="0" y="897624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: Shape 13">
              <a:extLst>
                <a:ext uri="{FF2B5EF4-FFF2-40B4-BE49-F238E27FC236}">
                  <a16:creationId xmlns:a16="http://schemas.microsoft.com/office/drawing/2014/main" id="{51E534EE-E0F1-2BD9-9A82-7656B90A2D9D}"/>
                </a:ext>
              </a:extLst>
            </p:cNvPr>
            <p:cNvSpPr/>
            <p:nvPr userDrawn="1"/>
          </p:nvSpPr>
          <p:spPr>
            <a:xfrm>
              <a:off x="6234405" y="7460"/>
              <a:ext cx="849328" cy="357668"/>
            </a:xfrm>
            <a:custGeom>
              <a:avLst/>
              <a:gdLst>
                <a:gd name="connsiteX0" fmla="*/ 0 w 1135066"/>
                <a:gd name="connsiteY0" fmla="*/ 0 h 477997"/>
                <a:gd name="connsiteX1" fmla="*/ 1135066 w 1135066"/>
                <a:gd name="connsiteY1" fmla="*/ 0 h 477997"/>
                <a:gd name="connsiteX2" fmla="*/ 1133370 w 1135066"/>
                <a:gd name="connsiteY2" fmla="*/ 16827 h 477997"/>
                <a:gd name="connsiteX3" fmla="*/ 567533 w 1135066"/>
                <a:gd name="connsiteY3" fmla="*/ 477997 h 477997"/>
                <a:gd name="connsiteX4" fmla="*/ 1696 w 1135066"/>
                <a:gd name="connsiteY4" fmla="*/ 16827 h 47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5066" h="477997">
                  <a:moveTo>
                    <a:pt x="0" y="0"/>
                  </a:moveTo>
                  <a:lnTo>
                    <a:pt x="1135066" y="0"/>
                  </a:lnTo>
                  <a:lnTo>
                    <a:pt x="1133370" y="16827"/>
                  </a:lnTo>
                  <a:cubicBezTo>
                    <a:pt x="1079514" y="280016"/>
                    <a:pt x="846644" y="477997"/>
                    <a:pt x="567533" y="477997"/>
                  </a:cubicBezTo>
                  <a:cubicBezTo>
                    <a:pt x="288422" y="477997"/>
                    <a:pt x="55552" y="280016"/>
                    <a:pt x="1696" y="1682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8437"/>
            <a:ext cx="5257800" cy="2324046"/>
          </a:xfrm>
        </p:spPr>
        <p:txBody>
          <a:bodyPr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813049-5F46-053E-6279-8183259649A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2657316"/>
            <a:ext cx="5257800" cy="3369858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800"/>
              </a:spcAft>
              <a:buNone/>
              <a:defRPr sz="1800"/>
            </a:lvl1pPr>
            <a:lvl2pPr marL="742950" indent="-2857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/>
            </a:lvl2pPr>
            <a:lvl3pPr marL="1200150" indent="-2857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3pPr>
            <a:lvl4pPr marL="1543050" indent="-1714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200"/>
            </a:lvl4pPr>
            <a:lvl5pPr marL="2000250" indent="-1714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C013AD6-0EF3-2B25-DDBD-2DF706123AE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114" y="845068"/>
            <a:ext cx="5193792" cy="5193792"/>
          </a:xfrm>
          <a:prstGeom prst="ellipse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/26/20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521BD3DB-6F51-C1AE-FF0E-D0BDCB55F3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23536" y="2"/>
            <a:ext cx="11220225" cy="6857998"/>
            <a:chOff x="123536" y="2"/>
            <a:chExt cx="11220225" cy="6857998"/>
          </a:xfrm>
        </p:grpSpPr>
        <p:sp>
          <p:nvSpPr>
            <p:cNvPr id="12" name="Freeform: Shape 7">
              <a:extLst>
                <a:ext uri="{FF2B5EF4-FFF2-40B4-BE49-F238E27FC236}">
                  <a16:creationId xmlns:a16="http://schemas.microsoft.com/office/drawing/2014/main" id="{59903C17-0733-BE0C-7392-283FEC2E98B0}"/>
                </a:ext>
              </a:extLst>
            </p:cNvPr>
            <p:cNvSpPr/>
            <p:nvPr/>
          </p:nvSpPr>
          <p:spPr>
            <a:xfrm flipH="1">
              <a:off x="123536" y="5717905"/>
              <a:ext cx="1771609" cy="1140095"/>
            </a:xfrm>
            <a:custGeom>
              <a:avLst/>
              <a:gdLst>
                <a:gd name="connsiteX0" fmla="*/ 1561721 w 1771609"/>
                <a:gd name="connsiteY0" fmla="*/ 763041 h 1140095"/>
                <a:gd name="connsiteX1" fmla="*/ 1623024 w 1771609"/>
                <a:gd name="connsiteY1" fmla="*/ 792810 h 1140095"/>
                <a:gd name="connsiteX2" fmla="*/ 1711735 w 1771609"/>
                <a:gd name="connsiteY2" fmla="*/ 970132 h 1140095"/>
                <a:gd name="connsiteX3" fmla="*/ 1771609 w 1771609"/>
                <a:gd name="connsiteY3" fmla="*/ 1140095 h 1140095"/>
                <a:gd name="connsiteX4" fmla="*/ 1637225 w 1771609"/>
                <a:gd name="connsiteY4" fmla="*/ 1140095 h 1140095"/>
                <a:gd name="connsiteX5" fmla="*/ 1594820 w 1771609"/>
                <a:gd name="connsiteY5" fmla="*/ 1019711 h 1140095"/>
                <a:gd name="connsiteX6" fmla="*/ 1513200 w 1771609"/>
                <a:gd name="connsiteY6" fmla="*/ 856627 h 1140095"/>
                <a:gd name="connsiteX7" fmla="*/ 1538499 w 1771609"/>
                <a:gd name="connsiteY7" fmla="*/ 770415 h 1140095"/>
                <a:gd name="connsiteX8" fmla="*/ 1561721 w 1771609"/>
                <a:gd name="connsiteY8" fmla="*/ 763041 h 1140095"/>
                <a:gd name="connsiteX9" fmla="*/ 933455 w 1771609"/>
                <a:gd name="connsiteY9" fmla="*/ 161309 h 1140095"/>
                <a:gd name="connsiteX10" fmla="*/ 957797 w 1771609"/>
                <a:gd name="connsiteY10" fmla="*/ 167970 h 1140095"/>
                <a:gd name="connsiteX11" fmla="*/ 1286982 w 1771609"/>
                <a:gd name="connsiteY11" fmla="*/ 387616 h 1140095"/>
                <a:gd name="connsiteX12" fmla="*/ 1293725 w 1771609"/>
                <a:gd name="connsiteY12" fmla="*/ 477075 h 1140095"/>
                <a:gd name="connsiteX13" fmla="*/ 1245453 w 1771609"/>
                <a:gd name="connsiteY13" fmla="*/ 499154 h 1140095"/>
                <a:gd name="connsiteX14" fmla="*/ 1245167 w 1771609"/>
                <a:gd name="connsiteY14" fmla="*/ 499154 h 1140095"/>
                <a:gd name="connsiteX15" fmla="*/ 1203638 w 1771609"/>
                <a:gd name="connsiteY15" fmla="*/ 484104 h 1140095"/>
                <a:gd name="connsiteX16" fmla="*/ 900647 w 1771609"/>
                <a:gd name="connsiteY16" fmla="*/ 281508 h 1140095"/>
                <a:gd name="connsiteX17" fmla="*/ 872454 w 1771609"/>
                <a:gd name="connsiteY17" fmla="*/ 196164 h 1140095"/>
                <a:gd name="connsiteX18" fmla="*/ 933455 w 1771609"/>
                <a:gd name="connsiteY18" fmla="*/ 161309 h 1140095"/>
                <a:gd name="connsiteX19" fmla="*/ 256260 w 1771609"/>
                <a:gd name="connsiteY19" fmla="*/ 29 h 1140095"/>
                <a:gd name="connsiteX20" fmla="*/ 454020 w 1771609"/>
                <a:gd name="connsiteY20" fmla="*/ 13474 h 1140095"/>
                <a:gd name="connsiteX21" fmla="*/ 509236 w 1771609"/>
                <a:gd name="connsiteY21" fmla="*/ 84182 h 1140095"/>
                <a:gd name="connsiteX22" fmla="*/ 445829 w 1771609"/>
                <a:gd name="connsiteY22" fmla="*/ 139871 h 1140095"/>
                <a:gd name="connsiteX23" fmla="*/ 437447 w 1771609"/>
                <a:gd name="connsiteY23" fmla="*/ 139395 h 1140095"/>
                <a:gd name="connsiteX24" fmla="*/ 73211 w 1771609"/>
                <a:gd name="connsiteY24" fmla="*/ 137204 h 1140095"/>
                <a:gd name="connsiteX25" fmla="*/ 749 w 1771609"/>
                <a:gd name="connsiteY25" fmla="*/ 84082 h 1140095"/>
                <a:gd name="connsiteX26" fmla="*/ 53871 w 1771609"/>
                <a:gd name="connsiteY26" fmla="*/ 11621 h 1140095"/>
                <a:gd name="connsiteX27" fmla="*/ 58352 w 1771609"/>
                <a:gd name="connsiteY27" fmla="*/ 11093 h 1140095"/>
                <a:gd name="connsiteX28" fmla="*/ 256260 w 1771609"/>
                <a:gd name="connsiteY28" fmla="*/ 29 h 1140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771609" h="1140095">
                  <a:moveTo>
                    <a:pt x="1561721" y="763041"/>
                  </a:moveTo>
                  <a:cubicBezTo>
                    <a:pt x="1585506" y="760324"/>
                    <a:pt x="1609722" y="771249"/>
                    <a:pt x="1623024" y="792810"/>
                  </a:cubicBezTo>
                  <a:cubicBezTo>
                    <a:pt x="1656300" y="850065"/>
                    <a:pt x="1685920" y="909291"/>
                    <a:pt x="1711735" y="970132"/>
                  </a:cubicBezTo>
                  <a:lnTo>
                    <a:pt x="1771609" y="1140095"/>
                  </a:lnTo>
                  <a:lnTo>
                    <a:pt x="1637225" y="1140095"/>
                  </a:lnTo>
                  <a:lnTo>
                    <a:pt x="1594820" y="1019711"/>
                  </a:lnTo>
                  <a:cubicBezTo>
                    <a:pt x="1571072" y="963753"/>
                    <a:pt x="1543818" y="909282"/>
                    <a:pt x="1513200" y="856627"/>
                  </a:cubicBezTo>
                  <a:cubicBezTo>
                    <a:pt x="1496379" y="825834"/>
                    <a:pt x="1507704" y="787236"/>
                    <a:pt x="1538499" y="770415"/>
                  </a:cubicBezTo>
                  <a:cubicBezTo>
                    <a:pt x="1545912" y="766367"/>
                    <a:pt x="1553792" y="763946"/>
                    <a:pt x="1561721" y="763041"/>
                  </a:cubicBezTo>
                  <a:close/>
                  <a:moveTo>
                    <a:pt x="933455" y="161309"/>
                  </a:moveTo>
                  <a:cubicBezTo>
                    <a:pt x="941693" y="161855"/>
                    <a:pt x="949959" y="164025"/>
                    <a:pt x="957797" y="167970"/>
                  </a:cubicBezTo>
                  <a:cubicBezTo>
                    <a:pt x="1076184" y="227289"/>
                    <a:pt x="1186759" y="301068"/>
                    <a:pt x="1286982" y="387616"/>
                  </a:cubicBezTo>
                  <a:cubicBezTo>
                    <a:pt x="1313547" y="410457"/>
                    <a:pt x="1316566" y="450510"/>
                    <a:pt x="1293725" y="477075"/>
                  </a:cubicBezTo>
                  <a:cubicBezTo>
                    <a:pt x="1281638" y="491137"/>
                    <a:pt x="1263998" y="499204"/>
                    <a:pt x="1245453" y="499154"/>
                  </a:cubicBezTo>
                  <a:lnTo>
                    <a:pt x="1245167" y="499154"/>
                  </a:lnTo>
                  <a:cubicBezTo>
                    <a:pt x="1229965" y="499301"/>
                    <a:pt x="1215220" y="493956"/>
                    <a:pt x="1203638" y="484104"/>
                  </a:cubicBezTo>
                  <a:cubicBezTo>
                    <a:pt x="1111407" y="404300"/>
                    <a:pt x="1009633" y="336248"/>
                    <a:pt x="900647" y="281508"/>
                  </a:cubicBezTo>
                  <a:cubicBezTo>
                    <a:pt x="869295" y="265726"/>
                    <a:pt x="856672" y="227516"/>
                    <a:pt x="872454" y="196164"/>
                  </a:cubicBezTo>
                  <a:cubicBezTo>
                    <a:pt x="884290" y="172650"/>
                    <a:pt x="908742" y="159670"/>
                    <a:pt x="933455" y="161309"/>
                  </a:cubicBezTo>
                  <a:close/>
                  <a:moveTo>
                    <a:pt x="256260" y="29"/>
                  </a:moveTo>
                  <a:cubicBezTo>
                    <a:pt x="322331" y="427"/>
                    <a:pt x="388378" y="4909"/>
                    <a:pt x="454020" y="13474"/>
                  </a:cubicBezTo>
                  <a:cubicBezTo>
                    <a:pt x="488793" y="17752"/>
                    <a:pt x="513514" y="49409"/>
                    <a:pt x="509236" y="84182"/>
                  </a:cubicBezTo>
                  <a:cubicBezTo>
                    <a:pt x="505303" y="116151"/>
                    <a:pt x="478038" y="140098"/>
                    <a:pt x="445829" y="139871"/>
                  </a:cubicBezTo>
                  <a:cubicBezTo>
                    <a:pt x="443027" y="139899"/>
                    <a:pt x="440227" y="139740"/>
                    <a:pt x="437447" y="139395"/>
                  </a:cubicBezTo>
                  <a:cubicBezTo>
                    <a:pt x="316592" y="123615"/>
                    <a:pt x="194247" y="122878"/>
                    <a:pt x="73211" y="137204"/>
                  </a:cubicBezTo>
                  <a:cubicBezTo>
                    <a:pt x="38532" y="142545"/>
                    <a:pt x="6090" y="118762"/>
                    <a:pt x="749" y="84082"/>
                  </a:cubicBezTo>
                  <a:cubicBezTo>
                    <a:pt x="-4591" y="49403"/>
                    <a:pt x="19192" y="16961"/>
                    <a:pt x="53871" y="11621"/>
                  </a:cubicBezTo>
                  <a:cubicBezTo>
                    <a:pt x="55358" y="11392"/>
                    <a:pt x="56852" y="11216"/>
                    <a:pt x="58352" y="11093"/>
                  </a:cubicBezTo>
                  <a:cubicBezTo>
                    <a:pt x="124093" y="3319"/>
                    <a:pt x="190189" y="-369"/>
                    <a:pt x="256260" y="29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: Shape 1">
              <a:extLst>
                <a:ext uri="{FF2B5EF4-FFF2-40B4-BE49-F238E27FC236}">
                  <a16:creationId xmlns:a16="http://schemas.microsoft.com/office/drawing/2014/main" id="{898A3450-9C87-13ED-79CC-F4F65D14FF72}"/>
                </a:ext>
              </a:extLst>
            </p:cNvPr>
            <p:cNvSpPr/>
            <p:nvPr userDrawn="1"/>
          </p:nvSpPr>
          <p:spPr>
            <a:xfrm>
              <a:off x="10494433" y="2"/>
              <a:ext cx="849328" cy="357668"/>
            </a:xfrm>
            <a:custGeom>
              <a:avLst/>
              <a:gdLst>
                <a:gd name="connsiteX0" fmla="*/ 0 w 1135066"/>
                <a:gd name="connsiteY0" fmla="*/ 0 h 477997"/>
                <a:gd name="connsiteX1" fmla="*/ 1135066 w 1135066"/>
                <a:gd name="connsiteY1" fmla="*/ 0 h 477997"/>
                <a:gd name="connsiteX2" fmla="*/ 1133370 w 1135066"/>
                <a:gd name="connsiteY2" fmla="*/ 16827 h 477997"/>
                <a:gd name="connsiteX3" fmla="*/ 567533 w 1135066"/>
                <a:gd name="connsiteY3" fmla="*/ 477997 h 477997"/>
                <a:gd name="connsiteX4" fmla="*/ 1696 w 1135066"/>
                <a:gd name="connsiteY4" fmla="*/ 16827 h 47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5066" h="477997">
                  <a:moveTo>
                    <a:pt x="0" y="0"/>
                  </a:moveTo>
                  <a:lnTo>
                    <a:pt x="1135066" y="0"/>
                  </a:lnTo>
                  <a:lnTo>
                    <a:pt x="1133370" y="16827"/>
                  </a:lnTo>
                  <a:cubicBezTo>
                    <a:pt x="1079514" y="280016"/>
                    <a:pt x="846644" y="477997"/>
                    <a:pt x="567533" y="477997"/>
                  </a:cubicBezTo>
                  <a:cubicBezTo>
                    <a:pt x="288422" y="477997"/>
                    <a:pt x="55552" y="280016"/>
                    <a:pt x="1696" y="1682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813049-5F46-053E-6279-8183259649A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2882462" cy="4297678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800"/>
              </a:spcAft>
              <a:buNone/>
              <a:defRPr sz="1800"/>
            </a:lvl1pPr>
            <a:lvl2pPr marL="742950" indent="-2857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/>
            </a:lvl2pPr>
            <a:lvl3pPr marL="1200150" indent="-2857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3pPr>
            <a:lvl4pPr marL="1543050" indent="-1714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200"/>
            </a:lvl4pPr>
            <a:lvl5pPr marL="2000250" indent="-171450"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038599" y="1825625"/>
            <a:ext cx="7315199" cy="4297680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/26/202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4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1/26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8" r:id="rId3"/>
    <p:sldLayoutId id="2147483650" r:id="rId4"/>
    <p:sldLayoutId id="2147483649" r:id="rId5"/>
    <p:sldLayoutId id="2147483662" r:id="rId6"/>
    <p:sldLayoutId id="2147483663" r:id="rId7"/>
    <p:sldLayoutId id="2147483652" r:id="rId8"/>
    <p:sldLayoutId id="2147483666" r:id="rId9"/>
    <p:sldLayoutId id="2147483664" r:id="rId10"/>
    <p:sldLayoutId id="2147483665" r:id="rId11"/>
    <p:sldLayoutId id="21474836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EB4446-BD6E-0341-85B9-5215D7BA4D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CC2DE7-22FF-2F4A-8EB6-D3C2531E66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6BF420-E6C6-2C41-87E3-97021A31FD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401C11-DE6B-6F4E-99F7-1BE09BBBD6EA}" type="datetime1">
              <a:rPr lang="en-US" smtClean="0"/>
              <a:t>1/2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950D3-0CB7-6040-B88A-B9716502EA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BD44E3-4C40-0446-8465-6FAB166FBF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C2A2B7-5AB2-8B42-B86C-59FD0C5679FD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8B65F3A-1729-7A4E-9FB2-6A7CDC9246BD}"/>
              </a:ext>
            </a:extLst>
          </p:cNvPr>
          <p:cNvGrpSpPr/>
          <p:nvPr userDrawn="1"/>
        </p:nvGrpSpPr>
        <p:grpSpPr>
          <a:xfrm>
            <a:off x="457200" y="5969717"/>
            <a:ext cx="11734800" cy="525780"/>
            <a:chOff x="555554" y="6161404"/>
            <a:chExt cx="8551589" cy="525780"/>
          </a:xfrm>
        </p:grpSpPr>
        <p:pic>
          <p:nvPicPr>
            <p:cNvPr id="8" name="Picture 7" descr="A picture containing drawing, food, parked&#10;&#10;Description automatically generated">
              <a:extLst>
                <a:ext uri="{FF2B5EF4-FFF2-40B4-BE49-F238E27FC236}">
                  <a16:creationId xmlns:a16="http://schemas.microsoft.com/office/drawing/2014/main" id="{D51B6F5A-2E6C-1E43-AE0C-34DB09A94F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5554" y="6161404"/>
              <a:ext cx="926588" cy="525780"/>
            </a:xfrm>
            <a:prstGeom prst="rect">
              <a:avLst/>
            </a:prstGeom>
          </p:spPr>
        </p:pic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A2D212E-1514-1448-96EC-C618594EB342}"/>
                </a:ext>
              </a:extLst>
            </p:cNvPr>
            <p:cNvCxnSpPr>
              <a:cxnSpLocks/>
            </p:cNvCxnSpPr>
            <p:nvPr/>
          </p:nvCxnSpPr>
          <p:spPr>
            <a:xfrm>
              <a:off x="1600829" y="6538594"/>
              <a:ext cx="7506314" cy="0"/>
            </a:xfrm>
            <a:prstGeom prst="line">
              <a:avLst/>
            </a:prstGeom>
            <a:ln w="3810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4550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herwin-williams.com/" TargetMode="External"/><Relationship Id="rId7" Type="http://schemas.openxmlformats.org/officeDocument/2006/relationships/hyperlink" Target="https://www.sherwin-williams.com/painting-contractors/pro-plu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www.sherwin-williams.com/property-facility-managers/products/resources" TargetMode="External"/><Relationship Id="rId5" Type="http://schemas.openxmlformats.org/officeDocument/2006/relationships/hyperlink" Target="https://www.sherwin-williams.com/property-facility-managers" TargetMode="External"/><Relationship Id="rId4" Type="http://schemas.openxmlformats.org/officeDocument/2006/relationships/hyperlink" Target="https://www.youtube.com/@sherwin-williams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0047101-8D42-6100-9CEA-AEC0FAEAB6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84474" y="2949739"/>
            <a:ext cx="6261291" cy="2396686"/>
          </a:xfrm>
          <a:noFill/>
        </p:spPr>
        <p:txBody>
          <a:bodyPr anchor="b">
            <a:noAutofit/>
          </a:bodyPr>
          <a:lstStyle/>
          <a:p>
            <a:r>
              <a:rPr lang="en-US" dirty="0"/>
              <a:t>Sherwin-Williams</a:t>
            </a:r>
            <a:br>
              <a:rPr lang="en-US" dirty="0"/>
            </a:br>
            <a:r>
              <a:rPr lang="en-US" dirty="0"/>
              <a:t>GBSC 2026</a:t>
            </a:r>
            <a:br>
              <a:rPr lang="en-US" dirty="0"/>
            </a:br>
            <a:r>
              <a:rPr lang="en-US" dirty="0"/>
              <a:t>Round 1 Training</a:t>
            </a:r>
          </a:p>
        </p:txBody>
      </p:sp>
    </p:spTree>
    <p:extLst>
      <p:ext uri="{BB962C8B-B14F-4D97-AF65-F5344CB8AC3E}">
        <p14:creationId xmlns:p14="http://schemas.microsoft.com/office/powerpoint/2010/main" val="5174260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84B077F-56A6-4CDC-39AD-CB8CC52D1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1318038-0B98-010E-399C-A7993232535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861A021-A911-7505-37C4-C7C852A1F9F3}"/>
              </a:ext>
            </a:extLst>
          </p:cNvPr>
          <p:cNvSpPr>
            <a:spLocks noGrp="1"/>
          </p:cNvSpPr>
          <p:nvPr>
            <p:ph sz="half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3948498-8812-6B63-E1FD-31877CE409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6091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dvertisement ">
            <a:extLst>
              <a:ext uri="{FF2B5EF4-FFF2-40B4-BE49-F238E27FC236}">
                <a16:creationId xmlns:a16="http://schemas.microsoft.com/office/drawing/2014/main" id="{67AB1197-6124-8523-9FB4-DE96DD55CC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2594" y="310689"/>
            <a:ext cx="8003663" cy="6236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771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of a van indicating Free delivery">
            <a:extLst>
              <a:ext uri="{FF2B5EF4-FFF2-40B4-BE49-F238E27FC236}">
                <a16:creationId xmlns:a16="http://schemas.microsoft.com/office/drawing/2014/main" id="{14F91C26-F2D7-9561-6823-58E615B90B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137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AC361-0D7A-DC05-86B5-6DD77D322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876" y="764502"/>
            <a:ext cx="5315035" cy="5328996"/>
          </a:xfrm>
          <a:noFill/>
        </p:spPr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5624848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C2181D-911C-1343-7267-E35AC86CCA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957" y="1119031"/>
            <a:ext cx="4384736" cy="4619938"/>
          </a:xfrm>
          <a:noFill/>
        </p:spPr>
        <p:txBody>
          <a:bodyPr>
            <a:noAutofit/>
          </a:bodyPr>
          <a:lstStyle/>
          <a:p>
            <a:r>
              <a:rPr lang="en-US" dirty="0"/>
              <a:t>Cont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EA8735-F1DC-1DE6-0A38-429B2F660F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1708" y="554942"/>
            <a:ext cx="5552091" cy="5768220"/>
          </a:xfrm>
          <a:noFill/>
        </p:spPr>
        <p:txBody>
          <a:bodyPr>
            <a:normAutofit/>
          </a:bodyPr>
          <a:lstStyle/>
          <a:p>
            <a:r>
              <a:rPr lang="en-US" dirty="0"/>
              <a:t>Introduction</a:t>
            </a:r>
          </a:p>
          <a:p>
            <a:r>
              <a:rPr lang="en-US" dirty="0"/>
              <a:t>Key Links For More Information</a:t>
            </a:r>
          </a:p>
          <a:p>
            <a:r>
              <a:rPr lang="en-US" dirty="0"/>
              <a:t>Target Customers</a:t>
            </a:r>
          </a:p>
          <a:p>
            <a:r>
              <a:rPr lang="en-US" dirty="0"/>
              <a:t>Key Problems/Pain Points</a:t>
            </a:r>
          </a:p>
          <a:p>
            <a:r>
              <a:rPr lang="en-US" dirty="0"/>
              <a:t>Visual aids</a:t>
            </a:r>
          </a:p>
          <a:p>
            <a:r>
              <a:rPr lang="en-US" dirty="0"/>
              <a:t>Final tips &amp; takeaways</a:t>
            </a:r>
          </a:p>
        </p:txBody>
      </p:sp>
    </p:spTree>
    <p:extLst>
      <p:ext uri="{BB962C8B-B14F-4D97-AF65-F5344CB8AC3E}">
        <p14:creationId xmlns:p14="http://schemas.microsoft.com/office/powerpoint/2010/main" val="39207244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672762-6DE2-F2D0-2291-46237EBE74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7DBA28-67C6-8F74-F7FE-3FC71E0E2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04803"/>
            <a:ext cx="10515600" cy="1472974"/>
          </a:xfrm>
          <a:noFill/>
        </p:spPr>
        <p:txBody>
          <a:bodyPr anchor="ctr"/>
          <a:lstStyle/>
          <a:p>
            <a:r>
              <a:rPr lang="en-US" dirty="0"/>
              <a:t>What Sherwin-Williams Off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F0FA7D-6EF2-635D-51AF-4E38F5219E5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86436" y="2232212"/>
            <a:ext cx="8012113" cy="3146611"/>
          </a:xfrm>
          <a:noFill/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Clr>
                <a:srgbClr val="FFC000"/>
              </a:buClr>
              <a:buNone/>
            </a:pPr>
            <a:r>
              <a:rPr lang="en-US" sz="2800" dirty="0"/>
              <a:t>Sherwin-Williams is primarily a coatings company, and its offerings fall into two broad buckets: </a:t>
            </a:r>
          </a:p>
          <a:p>
            <a:pPr>
              <a:buClr>
                <a:srgbClr val="FFC000"/>
              </a:buClr>
            </a:pPr>
            <a:r>
              <a:rPr lang="en-US" sz="2800" dirty="0"/>
              <a:t>coating products (paint and related materials) </a:t>
            </a:r>
          </a:p>
          <a:p>
            <a:pPr>
              <a:buClr>
                <a:srgbClr val="FFC000"/>
              </a:buClr>
            </a:pPr>
            <a:r>
              <a:rPr lang="en-US" sz="2800" dirty="0"/>
              <a:t>support services for homeowners, contractors, and industrial customers.</a:t>
            </a:r>
            <a:endParaRPr lang="en-US" sz="28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593843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5F5E3-2B1C-7C0A-8581-67A9052D13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04803"/>
            <a:ext cx="10515600" cy="1472974"/>
          </a:xfrm>
          <a:noFill/>
        </p:spPr>
        <p:txBody>
          <a:bodyPr anchor="ctr"/>
          <a:lstStyle/>
          <a:p>
            <a:r>
              <a:rPr lang="en-US" dirty="0"/>
              <a:t>Suggested Links For Re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A33159-D030-2F82-A142-F7594072831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838099"/>
            <a:ext cx="8012113" cy="4284889"/>
          </a:xfrm>
          <a:noFill/>
        </p:spPr>
        <p:txBody>
          <a:bodyPr vert="horz" lIns="91440" tIns="45720" rIns="91440" bIns="45720" rtlCol="0" anchor="t">
            <a:normAutofit/>
          </a:bodyPr>
          <a:lstStyle/>
          <a:p>
            <a:pPr marL="457200" indent="-457200">
              <a:buClr>
                <a:srgbClr val="FFC000"/>
              </a:buClr>
            </a:pPr>
            <a:r>
              <a:rPr lang="en-US" sz="2000" dirty="0">
                <a:hlinkClick r:id="rId3"/>
              </a:rPr>
              <a:t>https://www.sherwin-williams.com/</a:t>
            </a:r>
            <a:r>
              <a:rPr lang="en-US" sz="2000" dirty="0"/>
              <a:t> </a:t>
            </a:r>
            <a:endParaRPr lang="en-US" sz="800" dirty="0"/>
          </a:p>
          <a:p>
            <a:pPr marL="457200" indent="-457200">
              <a:buClr>
                <a:srgbClr val="FFC000"/>
              </a:buClr>
            </a:pPr>
            <a:r>
              <a:rPr lang="en-US" sz="2000" dirty="0">
                <a:hlinkClick r:id="rId4"/>
              </a:rPr>
              <a:t>Sherwin-Williams - YouTube</a:t>
            </a:r>
            <a:endParaRPr lang="en-US" sz="800" dirty="0"/>
          </a:p>
          <a:p>
            <a:pPr marL="457200" indent="-457200">
              <a:buClr>
                <a:srgbClr val="FFC000"/>
              </a:buClr>
            </a:pPr>
            <a:r>
              <a:rPr lang="en-US" sz="2000" dirty="0">
                <a:hlinkClick r:id="rId5"/>
              </a:rPr>
              <a:t>https://www.sherwin-williams.com/property-facility-managers</a:t>
            </a:r>
            <a:endParaRPr lang="en-US" sz="2000" dirty="0"/>
          </a:p>
          <a:p>
            <a:pPr marL="457200" indent="-457200">
              <a:buClr>
                <a:srgbClr val="FFC000"/>
              </a:buClr>
            </a:pPr>
            <a:r>
              <a:rPr lang="en-US" sz="2000" dirty="0">
                <a:hlinkClick r:id="rId6"/>
              </a:rPr>
              <a:t>https://www.sherwin-williams.com/property-facility-managers/products/resources</a:t>
            </a:r>
            <a:endParaRPr lang="en-US" sz="2000" dirty="0"/>
          </a:p>
          <a:p>
            <a:pPr marL="457200" indent="-457200">
              <a:buClr>
                <a:srgbClr val="FFC000"/>
              </a:buClr>
            </a:pPr>
            <a:r>
              <a:rPr lang="en-US" sz="2000" dirty="0">
                <a:hlinkClick r:id="rId7"/>
              </a:rPr>
              <a:t>https://www.sherwin-williams.com/painting-contractors/pro-plus</a:t>
            </a:r>
            <a:r>
              <a:rPr lang="en-US" sz="2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666746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E55002-77EF-2510-B3FE-9E4482C989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B7519F-3D1C-1F9A-6CA5-AEE74E336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04803"/>
            <a:ext cx="10515600" cy="1472974"/>
          </a:xfrm>
          <a:noFill/>
        </p:spPr>
        <p:txBody>
          <a:bodyPr anchor="ctr"/>
          <a:lstStyle/>
          <a:p>
            <a:r>
              <a:rPr lang="en-US"/>
              <a:t>What Sherwin-Williams Do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6E2F96-6531-7031-16EC-EB7409C9DE9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838099"/>
            <a:ext cx="8012113" cy="4284889"/>
          </a:xfrm>
          <a:noFill/>
        </p:spPr>
        <p:txBody>
          <a:bodyPr vert="horz" lIns="91440" tIns="45720" rIns="91440" bIns="45720" rtlCol="0" anchor="t">
            <a:normAutofit/>
          </a:bodyPr>
          <a:lstStyle/>
          <a:p>
            <a:pPr marL="457200" indent="-457200">
              <a:buClr>
                <a:srgbClr val="FFC000"/>
              </a:buClr>
            </a:pPr>
            <a:r>
              <a:rPr lang="en-US" sz="2000" dirty="0"/>
              <a:t>They personalize our communication</a:t>
            </a:r>
          </a:p>
          <a:p>
            <a:pPr marL="457200" indent="-457200">
              <a:buClr>
                <a:srgbClr val="FFC000"/>
              </a:buClr>
            </a:pPr>
            <a:endParaRPr lang="en-US" sz="800" dirty="0"/>
          </a:p>
          <a:p>
            <a:pPr marL="914400" lvl="1" indent="-457200">
              <a:buClr>
                <a:srgbClr val="FFC000"/>
              </a:buClr>
            </a:pPr>
            <a:r>
              <a:rPr lang="en-US" sz="1800" dirty="0"/>
              <a:t>Customers feel like they are valued and that we understand them</a:t>
            </a:r>
          </a:p>
          <a:p>
            <a:pPr marL="457200" indent="-457200">
              <a:buClr>
                <a:srgbClr val="FFC000"/>
              </a:buClr>
            </a:pPr>
            <a:endParaRPr lang="en-US" sz="800" dirty="0"/>
          </a:p>
          <a:p>
            <a:pPr marL="457200" indent="-457200">
              <a:buClr>
                <a:srgbClr val="FFC000"/>
              </a:buClr>
            </a:pPr>
            <a:r>
              <a:rPr lang="en-US" sz="2000" dirty="0"/>
              <a:t>They offer solutions that provide value to the customer and their business</a:t>
            </a:r>
          </a:p>
          <a:p>
            <a:pPr marL="457200" indent="-457200">
              <a:buClr>
                <a:srgbClr val="FFC000"/>
              </a:buClr>
            </a:pPr>
            <a:endParaRPr lang="en-US" sz="800" dirty="0"/>
          </a:p>
          <a:p>
            <a:pPr marL="914400" lvl="1" indent="-457200">
              <a:buClr>
                <a:srgbClr val="FFC000"/>
              </a:buClr>
            </a:pPr>
            <a:r>
              <a:rPr lang="en-US" sz="1800" dirty="0"/>
              <a:t>Provide a Sherwin-Williams Customer Experience </a:t>
            </a:r>
            <a:r>
              <a:rPr lang="en-US" sz="2600" dirty="0"/>
              <a:t>  </a:t>
            </a:r>
            <a:endParaRPr lang="en-US" sz="18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15764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15929" y="1349825"/>
            <a:ext cx="6560142" cy="3063149"/>
          </a:xfrm>
          <a:noFill/>
        </p:spPr>
        <p:txBody>
          <a:bodyPr/>
          <a:lstStyle/>
          <a:p>
            <a:r>
              <a:rPr lang="en-US" dirty="0"/>
              <a:t>Round 1 Is Discove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ECEBD4-35BF-26BB-D438-DA43EBD5EE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15929" y="4412973"/>
            <a:ext cx="6560142" cy="1935571"/>
          </a:xfrm>
          <a:noFill/>
        </p:spPr>
        <p:txBody>
          <a:bodyPr/>
          <a:lstStyle/>
          <a:p>
            <a:r>
              <a:rPr lang="en-US" dirty="0"/>
              <a:t>Meeting preparation suggestions</a:t>
            </a:r>
          </a:p>
        </p:txBody>
      </p:sp>
    </p:spTree>
    <p:extLst>
      <p:ext uri="{BB962C8B-B14F-4D97-AF65-F5344CB8AC3E}">
        <p14:creationId xmlns:p14="http://schemas.microsoft.com/office/powerpoint/2010/main" val="3630989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8A15DE-D135-0710-9984-A0A55E960C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8437"/>
            <a:ext cx="5257800" cy="2324046"/>
          </a:xfrm>
          <a:noFill/>
        </p:spPr>
        <p:txBody>
          <a:bodyPr anchor="b"/>
          <a:lstStyle/>
          <a:p>
            <a:r>
              <a:rPr lang="en-US" dirty="0"/>
              <a:t>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C8AA23-D8D0-93BE-5C5F-103A750B0D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657316"/>
            <a:ext cx="5257800" cy="3369858"/>
          </a:xfrm>
          <a:noFill/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Introduce yourselves</a:t>
            </a:r>
          </a:p>
          <a:p>
            <a:r>
              <a:rPr lang="en-US" dirty="0"/>
              <a:t>Discover the prospect pain points</a:t>
            </a:r>
          </a:p>
          <a:p>
            <a:r>
              <a:rPr lang="en-US" dirty="0"/>
              <a:t>Propose a path forward</a:t>
            </a:r>
          </a:p>
          <a:p>
            <a:r>
              <a:rPr lang="en-US" dirty="0"/>
              <a:t>Secure a next meeting</a:t>
            </a:r>
          </a:p>
          <a:p>
            <a:r>
              <a:rPr lang="en-US" dirty="0"/>
              <a:t>Adjour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You have 15 minut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heck the rubric</a:t>
            </a:r>
          </a:p>
          <a:p>
            <a:endParaRPr lang="en-US" dirty="0"/>
          </a:p>
        </p:txBody>
      </p:sp>
      <p:pic>
        <p:nvPicPr>
          <p:cNvPr id="7" name="Picture Placeholder 6" descr="Magnifying glass on an orange sticky not with words Pain Points in the center">
            <a:extLst>
              <a:ext uri="{FF2B5EF4-FFF2-40B4-BE49-F238E27FC236}">
                <a16:creationId xmlns:a16="http://schemas.microsoft.com/office/drawing/2014/main" id="{801F49D2-BB65-F239-98D5-2AE9FF0D4CB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t="636" b="636"/>
          <a:stretch/>
        </p:blipFill>
        <p:spPr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7372412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9874B-BCA9-8420-1595-EDD1865A09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60552"/>
          </a:xfrm>
          <a:noFill/>
        </p:spPr>
        <p:txBody>
          <a:bodyPr anchor="ctr"/>
          <a:lstStyle/>
          <a:p>
            <a:r>
              <a:rPr lang="en-US" dirty="0"/>
              <a:t>Potential Pain Points</a:t>
            </a:r>
          </a:p>
        </p:txBody>
      </p:sp>
      <p:pic>
        <p:nvPicPr>
          <p:cNvPr id="10" name="Picture 9" descr="A circle with 4 quadrants having different people diplayed.">
            <a:extLst>
              <a:ext uri="{FF2B5EF4-FFF2-40B4-BE49-F238E27FC236}">
                <a16:creationId xmlns:a16="http://schemas.microsoft.com/office/drawing/2014/main" id="{037E5028-6AFA-68AD-7BA3-4DABE44D64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18613"/>
            <a:ext cx="12192000" cy="5239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6497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hape&#10;&#10;Description automatically generated">
            <a:extLst>
              <a:ext uri="{FF2B5EF4-FFF2-40B4-BE49-F238E27FC236}">
                <a16:creationId xmlns:a16="http://schemas.microsoft.com/office/drawing/2014/main" id="{08721A7C-2E6D-A940-904D-30968144E0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6F69DD-D23D-4A5A-B88B-90325E653D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2958" y="1250360"/>
            <a:ext cx="8466083" cy="4525963"/>
          </a:xfrm>
        </p:spPr>
        <p:txBody>
          <a:bodyPr/>
          <a:lstStyle/>
          <a:p>
            <a:pPr marL="914400" lvl="1" indent="-45720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ASK SITUATION Questions</a:t>
            </a:r>
          </a:p>
          <a:p>
            <a:pPr lvl="2"/>
            <a:r>
              <a:rPr lang="en-US" sz="1600" i="1" dirty="0">
                <a:solidFill>
                  <a:schemeClr val="bg1"/>
                </a:solidFill>
              </a:rPr>
              <a:t>What are some issues you are encountering?</a:t>
            </a:r>
          </a:p>
          <a:p>
            <a:pPr lvl="2"/>
            <a:r>
              <a:rPr lang="en-US" sz="1600" i="1" dirty="0">
                <a:solidFill>
                  <a:schemeClr val="bg1"/>
                </a:solidFill>
              </a:rPr>
              <a:t>What’s slowing you down? </a:t>
            </a:r>
          </a:p>
          <a:p>
            <a:pPr lvl="2"/>
            <a:r>
              <a:rPr lang="en-US" sz="1600" i="1" dirty="0">
                <a:solidFill>
                  <a:schemeClr val="bg1"/>
                </a:solidFill>
              </a:rPr>
              <a:t>What’s keeping you up at night? 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SHUT UP AND LISTEN 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PROMPT FOR PROBLEMS YOU CAN RESOLVE</a:t>
            </a:r>
          </a:p>
          <a:p>
            <a:pPr lvl="2"/>
            <a:r>
              <a:rPr lang="en-US" sz="1600" i="1" dirty="0">
                <a:solidFill>
                  <a:schemeClr val="bg1"/>
                </a:solidFill>
              </a:rPr>
              <a:t>Tell me more about the problem? </a:t>
            </a:r>
          </a:p>
          <a:p>
            <a:pPr lvl="2"/>
            <a:r>
              <a:rPr lang="en-US" sz="1600" i="1" dirty="0">
                <a:solidFill>
                  <a:schemeClr val="bg1"/>
                </a:solidFill>
              </a:rPr>
              <a:t>How is that slowing you down/keeping you up?</a:t>
            </a:r>
          </a:p>
          <a:p>
            <a:pPr lvl="2"/>
            <a:r>
              <a:rPr lang="en-US" sz="1600" i="1" dirty="0">
                <a:solidFill>
                  <a:schemeClr val="bg1"/>
                </a:solidFill>
              </a:rPr>
              <a:t>What happens if you don’t solve the problem?</a:t>
            </a:r>
          </a:p>
          <a:p>
            <a:pPr lvl="2"/>
            <a:r>
              <a:rPr lang="en-US" sz="1600" i="1" dirty="0">
                <a:solidFill>
                  <a:schemeClr val="bg1"/>
                </a:solidFill>
              </a:rPr>
              <a:t>What happens if you do?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PROVIDE INFORMATION (TOOL/PEOPLE/RESOURCE) AND ASK A QUESTION</a:t>
            </a:r>
          </a:p>
          <a:p>
            <a:pPr lvl="2"/>
            <a:r>
              <a:rPr lang="en-US" sz="1600" i="1" dirty="0">
                <a:solidFill>
                  <a:schemeClr val="bg1"/>
                </a:solidFill>
              </a:rPr>
              <a:t>How would/does that tool help you?</a:t>
            </a:r>
          </a:p>
          <a:p>
            <a:pPr lvl="2"/>
            <a:r>
              <a:rPr lang="en-US" sz="1600" i="1" dirty="0">
                <a:solidFill>
                  <a:schemeClr val="bg1"/>
                </a:solidFill>
              </a:rPr>
              <a:t>How will that help make your life easier? </a:t>
            </a:r>
          </a:p>
          <a:p>
            <a:pPr marL="1371600" lvl="3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EF4469-8B86-4C1E-8933-3BE10CFD8F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5F9C7C-89B6-4FEB-BE41-0270992DAD84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10913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YkVoCvQmCsMMDjbMQFaQ"/>
</p:tagLst>
</file>

<file path=ppt/theme/theme1.xml><?xml version="1.0" encoding="utf-8"?>
<a:theme xmlns:a="http://schemas.openxmlformats.org/drawingml/2006/main" name="Custom">
  <a:themeElements>
    <a:clrScheme name="TM78504181">
      <a:dk1>
        <a:srgbClr val="000000"/>
      </a:dk1>
      <a:lt1>
        <a:srgbClr val="FFFFFF"/>
      </a:lt1>
      <a:dk2>
        <a:srgbClr val="FFF8F4"/>
      </a:dk2>
      <a:lt2>
        <a:srgbClr val="E8E8E8"/>
      </a:lt2>
      <a:accent1>
        <a:srgbClr val="EE7660"/>
      </a:accent1>
      <a:accent2>
        <a:srgbClr val="4D90EF"/>
      </a:accent2>
      <a:accent3>
        <a:srgbClr val="5B5160"/>
      </a:accent3>
      <a:accent4>
        <a:srgbClr val="2BC2B4"/>
      </a:accent4>
      <a:accent5>
        <a:srgbClr val="C097F8"/>
      </a:accent5>
      <a:accent6>
        <a:srgbClr val="FF9413"/>
      </a:accent6>
      <a:hlink>
        <a:srgbClr val="467886"/>
      </a:hlink>
      <a:folHlink>
        <a:srgbClr val="96607D"/>
      </a:folHlink>
    </a:clrScheme>
    <a:fontScheme name="Custom 49">
      <a:majorFont>
        <a:latin typeface="Tw Cen MT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78504181_Win32_SL_V11" id="{D9600F65-346D-4C25-A611-673E5C44A142}" vid="{299F2556-E258-444F-A1E6-FA759CE2285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76DC55A7393A47936E1FC0D99FF64D" ma:contentTypeVersion="15" ma:contentTypeDescription="Create a new document." ma:contentTypeScope="" ma:versionID="e2088ddf7e5b5e83f631453b5a71d956">
  <xsd:schema xmlns:xsd="http://www.w3.org/2001/XMLSchema" xmlns:xs="http://www.w3.org/2001/XMLSchema" xmlns:p="http://schemas.microsoft.com/office/2006/metadata/properties" xmlns:ns2="c4766bfe-b951-4f5b-a48e-0e41e278ae91" xmlns:ns3="21ff70cf-d279-427e-9ada-8386f82e0dba" targetNamespace="http://schemas.microsoft.com/office/2006/metadata/properties" ma:root="true" ma:fieldsID="d1d6ef234523dc586f31512a687fb47c" ns2:_="" ns3:_="">
    <xsd:import namespace="c4766bfe-b951-4f5b-a48e-0e41e278ae91"/>
    <xsd:import namespace="21ff70cf-d279-427e-9ada-8386f82e0db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766bfe-b951-4f5b-a48e-0e41e278ae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391af29b-e898-46cd-ad54-75745d14b33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ff70cf-d279-427e-9ada-8386f82e0dba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86e2c32e-ecf1-40a8-80cf-bc2cb86bab4a}" ma:internalName="TaxCatchAll" ma:showField="CatchAllData" ma:web="21ff70cf-d279-427e-9ada-8386f82e0db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1ff70cf-d279-427e-9ada-8386f82e0dba" xsi:nil="true"/>
    <lcf76f155ced4ddcb4097134ff3c332f xmlns="c4766bfe-b951-4f5b-a48e-0e41e278ae91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E5B841F-0914-476D-91AC-79B891E5C22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4766bfe-b951-4f5b-a48e-0e41e278ae91"/>
    <ds:schemaRef ds:uri="21ff70cf-d279-427e-9ada-8386f82e0db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130005B-6102-4F3C-A26F-485DF1BF9717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  <ds:schemaRef ds:uri="21ff70cf-d279-427e-9ada-8386f82e0dba"/>
    <ds:schemaRef ds:uri="c4766bfe-b951-4f5b-a48e-0e41e278ae91"/>
  </ds:schemaRefs>
</ds:datastoreItem>
</file>

<file path=customXml/itemProps3.xml><?xml version="1.0" encoding="utf-8"?>
<ds:datastoreItem xmlns:ds="http://schemas.openxmlformats.org/officeDocument/2006/customXml" ds:itemID="{4E60708A-6461-4D7F-883F-7E25D731D326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AD7D9FCE-619F-456D-B780-F8CF626BF4C9}TFab1f0ecd-b87c-476f-be30-2c815ce1b1f82585027f_win32-74124434413c</Template>
  <TotalTime>209</TotalTime>
  <Words>358</Words>
  <Application>Microsoft Office PowerPoint</Application>
  <PresentationFormat>Widescreen</PresentationFormat>
  <Paragraphs>68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ptos</vt:lpstr>
      <vt:lpstr>Arial</vt:lpstr>
      <vt:lpstr>Avenir Next LT Pro</vt:lpstr>
      <vt:lpstr>Avenir Next LT Pro Light</vt:lpstr>
      <vt:lpstr>Calibri</vt:lpstr>
      <vt:lpstr>Calibri Light</vt:lpstr>
      <vt:lpstr>Tw Cen MT</vt:lpstr>
      <vt:lpstr>Wingdings</vt:lpstr>
      <vt:lpstr>Custom</vt:lpstr>
      <vt:lpstr>Office Theme</vt:lpstr>
      <vt:lpstr>think-cell Slide</vt:lpstr>
      <vt:lpstr>Sherwin-Williams GBSC 2026 Round 1 Training</vt:lpstr>
      <vt:lpstr>Content</vt:lpstr>
      <vt:lpstr>What Sherwin-Williams Offers</vt:lpstr>
      <vt:lpstr>Suggested Links For Review</vt:lpstr>
      <vt:lpstr>What Sherwin-Williams Does</vt:lpstr>
      <vt:lpstr>Round 1 Is Discovery</vt:lpstr>
      <vt:lpstr>Steps</vt:lpstr>
      <vt:lpstr>Potential Pain Points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afael Soltero Venegas</dc:creator>
  <cp:lastModifiedBy>Rosario Ortega</cp:lastModifiedBy>
  <cp:revision>2</cp:revision>
  <dcterms:created xsi:type="dcterms:W3CDTF">2026-01-21T21:23:27Z</dcterms:created>
  <dcterms:modified xsi:type="dcterms:W3CDTF">2026-01-26T19:4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76DC55A7393A47936E1FC0D99FF64D</vt:lpwstr>
  </property>
  <property fmtid="{D5CDD505-2E9C-101B-9397-08002B2CF9AE}" pid="3" name="MediaServiceImageTags">
    <vt:lpwstr/>
  </property>
</Properties>
</file>